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2.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3.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5.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6.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7.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8.xml" ContentType="application/vnd.openxmlformats-officedocument.theme+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9.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10.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17" r:id="rId4"/>
    <p:sldMasterId id="2147483868" r:id="rId5"/>
    <p:sldMasterId id="2147484399" r:id="rId6"/>
    <p:sldMasterId id="2147484435" r:id="rId7"/>
    <p:sldMasterId id="2147484468" r:id="rId8"/>
    <p:sldMasterId id="2147484599" r:id="rId9"/>
    <p:sldMasterId id="2147484636" r:id="rId10"/>
    <p:sldMasterId id="2147484669" r:id="rId11"/>
    <p:sldMasterId id="2147484682" r:id="rId12"/>
    <p:sldMasterId id="2147484715" r:id="rId13"/>
    <p:sldMasterId id="2147484751" r:id="rId14"/>
  </p:sldMasterIdLst>
  <p:notesMasterIdLst>
    <p:notesMasterId r:id="rId50"/>
  </p:notesMasterIdLst>
  <p:sldIdLst>
    <p:sldId id="256" r:id="rId15"/>
    <p:sldId id="2147376379" r:id="rId16"/>
    <p:sldId id="2147376388" r:id="rId17"/>
    <p:sldId id="2147478442" r:id="rId18"/>
    <p:sldId id="982" r:id="rId19"/>
    <p:sldId id="318" r:id="rId20"/>
    <p:sldId id="358" r:id="rId21"/>
    <p:sldId id="259" r:id="rId22"/>
    <p:sldId id="984" r:id="rId23"/>
    <p:sldId id="980" r:id="rId24"/>
    <p:sldId id="2147478377" r:id="rId25"/>
    <p:sldId id="2147478439" r:id="rId26"/>
    <p:sldId id="2147478433" r:id="rId27"/>
    <p:sldId id="2147478443" r:id="rId28"/>
    <p:sldId id="2147478444" r:id="rId29"/>
    <p:sldId id="2147478447" r:id="rId30"/>
    <p:sldId id="2147478450" r:id="rId31"/>
    <p:sldId id="2147478451" r:id="rId32"/>
    <p:sldId id="2147478448" r:id="rId33"/>
    <p:sldId id="2147478440" r:id="rId34"/>
    <p:sldId id="2147478445" r:id="rId35"/>
    <p:sldId id="387" r:id="rId36"/>
    <p:sldId id="2147478449" r:id="rId37"/>
    <p:sldId id="2147478446" r:id="rId38"/>
    <p:sldId id="2147478452" r:id="rId39"/>
    <p:sldId id="2147478453" r:id="rId40"/>
    <p:sldId id="2147478431" r:id="rId41"/>
    <p:sldId id="2147478454" r:id="rId42"/>
    <p:sldId id="2147478455" r:id="rId43"/>
    <p:sldId id="2147478441" r:id="rId44"/>
    <p:sldId id="2147478437" r:id="rId45"/>
    <p:sldId id="2147478438" r:id="rId46"/>
    <p:sldId id="2147469425" r:id="rId47"/>
    <p:sldId id="2147469424" r:id="rId48"/>
    <p:sldId id="273"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DC8332-650A-4F6E-AD93-DF41712C7C1D}" v="32" dt="2024-07-23T18:40:05.3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56645" autoAdjust="0"/>
  </p:normalViewPr>
  <p:slideViewPr>
    <p:cSldViewPr snapToGrid="0">
      <p:cViewPr varScale="1">
        <p:scale>
          <a:sx n="47" d="100"/>
          <a:sy n="47" d="100"/>
        </p:scale>
        <p:origin x="2069" y="58"/>
      </p:cViewPr>
      <p:guideLst/>
    </p:cSldViewPr>
  </p:slideViewPr>
  <p:notesTextViewPr>
    <p:cViewPr>
      <p:scale>
        <a:sx n="3" d="2"/>
        <a:sy n="3" d="2"/>
      </p:scale>
      <p:origin x="0" y="-1550"/>
    </p:cViewPr>
  </p:notesTextViewPr>
  <p:notesViewPr>
    <p:cSldViewPr snapToGrid="0">
      <p:cViewPr varScale="1">
        <p:scale>
          <a:sx n="85" d="100"/>
          <a:sy n="85" d="100"/>
        </p:scale>
        <p:origin x="3888" y="-20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zabo, Corinne" userId="5f91d2e2-9041-4610-ba2d-7466ed1f64a1" providerId="ADAL" clId="{F9DC8332-650A-4F6E-AD93-DF41712C7C1D}"/>
    <pc:docChg chg="undo custSel addSld delSld modSld sldOrd delMainMaster modMainMaster">
      <pc:chgData name="Szabo, Corinne" userId="5f91d2e2-9041-4610-ba2d-7466ed1f64a1" providerId="ADAL" clId="{F9DC8332-650A-4F6E-AD93-DF41712C7C1D}" dt="2024-07-23T18:40:11.738" v="1821" actId="6549"/>
      <pc:docMkLst>
        <pc:docMk/>
      </pc:docMkLst>
      <pc:sldChg chg="modSp mod modNotesTx">
        <pc:chgData name="Szabo, Corinne" userId="5f91d2e2-9041-4610-ba2d-7466ed1f64a1" providerId="ADAL" clId="{F9DC8332-650A-4F6E-AD93-DF41712C7C1D}" dt="2024-07-22T17:31:06.644" v="7" actId="20577"/>
        <pc:sldMkLst>
          <pc:docMk/>
          <pc:sldMk cId="60785303" sldId="256"/>
        </pc:sldMkLst>
        <pc:spChg chg="mod">
          <ac:chgData name="Szabo, Corinne" userId="5f91d2e2-9041-4610-ba2d-7466ed1f64a1" providerId="ADAL" clId="{F9DC8332-650A-4F6E-AD93-DF41712C7C1D}" dt="2024-07-22T17:30:47.074" v="3" actId="20577"/>
          <ac:spMkLst>
            <pc:docMk/>
            <pc:sldMk cId="60785303" sldId="256"/>
            <ac:spMk id="12" creationId="{04CCDEDE-3192-43B4-BD99-14D93EDF55E0}"/>
          </ac:spMkLst>
        </pc:spChg>
      </pc:sldChg>
      <pc:sldChg chg="del">
        <pc:chgData name="Szabo, Corinne" userId="5f91d2e2-9041-4610-ba2d-7466ed1f64a1" providerId="ADAL" clId="{F9DC8332-650A-4F6E-AD93-DF41712C7C1D}" dt="2024-07-22T17:43:26.838" v="154" actId="47"/>
        <pc:sldMkLst>
          <pc:docMk/>
          <pc:sldMk cId="1502396668" sldId="257"/>
        </pc:sldMkLst>
      </pc:sldChg>
      <pc:sldChg chg="del">
        <pc:chgData name="Szabo, Corinne" userId="5f91d2e2-9041-4610-ba2d-7466ed1f64a1" providerId="ADAL" clId="{F9DC8332-650A-4F6E-AD93-DF41712C7C1D}" dt="2024-07-22T17:43:27.752" v="155" actId="47"/>
        <pc:sldMkLst>
          <pc:docMk/>
          <pc:sldMk cId="2110500825" sldId="258"/>
        </pc:sldMkLst>
      </pc:sldChg>
      <pc:sldChg chg="del">
        <pc:chgData name="Szabo, Corinne" userId="5f91d2e2-9041-4610-ba2d-7466ed1f64a1" providerId="ADAL" clId="{F9DC8332-650A-4F6E-AD93-DF41712C7C1D}" dt="2024-07-22T17:43:29.581" v="156" actId="47"/>
        <pc:sldMkLst>
          <pc:docMk/>
          <pc:sldMk cId="4151846253" sldId="259"/>
        </pc:sldMkLst>
      </pc:sldChg>
      <pc:sldChg chg="del">
        <pc:chgData name="Szabo, Corinne" userId="5f91d2e2-9041-4610-ba2d-7466ed1f64a1" providerId="ADAL" clId="{F9DC8332-650A-4F6E-AD93-DF41712C7C1D}" dt="2024-07-22T17:43:30.360" v="157" actId="47"/>
        <pc:sldMkLst>
          <pc:docMk/>
          <pc:sldMk cId="621174141" sldId="260"/>
        </pc:sldMkLst>
      </pc:sldChg>
      <pc:sldChg chg="del">
        <pc:chgData name="Szabo, Corinne" userId="5f91d2e2-9041-4610-ba2d-7466ed1f64a1" providerId="ADAL" clId="{F9DC8332-650A-4F6E-AD93-DF41712C7C1D}" dt="2024-07-22T17:43:31.774" v="158" actId="47"/>
        <pc:sldMkLst>
          <pc:docMk/>
          <pc:sldMk cId="2410479986" sldId="261"/>
        </pc:sldMkLst>
      </pc:sldChg>
      <pc:sldChg chg="del">
        <pc:chgData name="Szabo, Corinne" userId="5f91d2e2-9041-4610-ba2d-7466ed1f64a1" providerId="ADAL" clId="{F9DC8332-650A-4F6E-AD93-DF41712C7C1D}" dt="2024-07-22T17:43:46.374" v="165" actId="47"/>
        <pc:sldMkLst>
          <pc:docMk/>
          <pc:sldMk cId="3419605632" sldId="298"/>
        </pc:sldMkLst>
      </pc:sldChg>
      <pc:sldChg chg="modSp del mod modClrScheme chgLayout">
        <pc:chgData name="Szabo, Corinne" userId="5f91d2e2-9041-4610-ba2d-7466ed1f64a1" providerId="ADAL" clId="{F9DC8332-650A-4F6E-AD93-DF41712C7C1D}" dt="2024-07-22T17:43:07.275" v="150" actId="47"/>
        <pc:sldMkLst>
          <pc:docMk/>
          <pc:sldMk cId="1963243986" sldId="331"/>
        </pc:sldMkLst>
        <pc:spChg chg="mod ord">
          <ac:chgData name="Szabo, Corinne" userId="5f91d2e2-9041-4610-ba2d-7466ed1f64a1" providerId="ADAL" clId="{F9DC8332-650A-4F6E-AD93-DF41712C7C1D}" dt="2024-07-22T17:31:28.514" v="34"/>
          <ac:spMkLst>
            <pc:docMk/>
            <pc:sldMk cId="1963243986" sldId="331"/>
            <ac:spMk id="6" creationId="{D001D025-3FA7-A159-F86F-66CE2AFD4617}"/>
          </ac:spMkLst>
        </pc:spChg>
      </pc:sldChg>
      <pc:sldChg chg="del">
        <pc:chgData name="Szabo, Corinne" userId="5f91d2e2-9041-4610-ba2d-7466ed1f64a1" providerId="ADAL" clId="{F9DC8332-650A-4F6E-AD93-DF41712C7C1D}" dt="2024-07-22T17:43:05.925" v="149" actId="47"/>
        <pc:sldMkLst>
          <pc:docMk/>
          <pc:sldMk cId="2292024499" sldId="332"/>
        </pc:sldMkLst>
      </pc:sldChg>
      <pc:sldChg chg="del">
        <pc:chgData name="Szabo, Corinne" userId="5f91d2e2-9041-4610-ba2d-7466ed1f64a1" providerId="ADAL" clId="{F9DC8332-650A-4F6E-AD93-DF41712C7C1D}" dt="2024-07-22T17:44:21.067" v="166" actId="47"/>
        <pc:sldMkLst>
          <pc:docMk/>
          <pc:sldMk cId="3478784068" sldId="435"/>
        </pc:sldMkLst>
      </pc:sldChg>
      <pc:sldChg chg="del">
        <pc:chgData name="Szabo, Corinne" userId="5f91d2e2-9041-4610-ba2d-7466ed1f64a1" providerId="ADAL" clId="{F9DC8332-650A-4F6E-AD93-DF41712C7C1D}" dt="2024-07-22T17:44:22.730" v="167" actId="47"/>
        <pc:sldMkLst>
          <pc:docMk/>
          <pc:sldMk cId="4195520910" sldId="436"/>
        </pc:sldMkLst>
      </pc:sldChg>
      <pc:sldChg chg="del">
        <pc:chgData name="Szabo, Corinne" userId="5f91d2e2-9041-4610-ba2d-7466ed1f64a1" providerId="ADAL" clId="{F9DC8332-650A-4F6E-AD93-DF41712C7C1D}" dt="2024-07-22T17:44:24.469" v="168" actId="47"/>
        <pc:sldMkLst>
          <pc:docMk/>
          <pc:sldMk cId="961067141" sldId="439"/>
        </pc:sldMkLst>
      </pc:sldChg>
      <pc:sldChg chg="modSp del mod modClrScheme chgLayout">
        <pc:chgData name="Szabo, Corinne" userId="5f91d2e2-9041-4610-ba2d-7466ed1f64a1" providerId="ADAL" clId="{F9DC8332-650A-4F6E-AD93-DF41712C7C1D}" dt="2024-07-22T17:44:40.984" v="169" actId="47"/>
        <pc:sldMkLst>
          <pc:docMk/>
          <pc:sldMk cId="2523969211" sldId="440"/>
        </pc:sldMkLst>
        <pc:spChg chg="mod ord">
          <ac:chgData name="Szabo, Corinne" userId="5f91d2e2-9041-4610-ba2d-7466ed1f64a1" providerId="ADAL" clId="{F9DC8332-650A-4F6E-AD93-DF41712C7C1D}" dt="2024-07-22T17:31:28.519" v="58"/>
          <ac:spMkLst>
            <pc:docMk/>
            <pc:sldMk cId="2523969211" sldId="440"/>
            <ac:spMk id="2" creationId="{1A13C234-1B7A-99BC-C3B3-1D4ECBA2273D}"/>
          </ac:spMkLst>
        </pc:spChg>
        <pc:spChg chg="mod ord">
          <ac:chgData name="Szabo, Corinne" userId="5f91d2e2-9041-4610-ba2d-7466ed1f64a1" providerId="ADAL" clId="{F9DC8332-650A-4F6E-AD93-DF41712C7C1D}" dt="2024-07-22T17:31:28.519" v="58"/>
          <ac:spMkLst>
            <pc:docMk/>
            <pc:sldMk cId="2523969211" sldId="440"/>
            <ac:spMk id="3" creationId="{4C7A2DA1-D1CE-3A1B-1403-602E9FBB8C87}"/>
          </ac:spMkLst>
        </pc:spChg>
        <pc:spChg chg="mod ord">
          <ac:chgData name="Szabo, Corinne" userId="5f91d2e2-9041-4610-ba2d-7466ed1f64a1" providerId="ADAL" clId="{F9DC8332-650A-4F6E-AD93-DF41712C7C1D}" dt="2024-07-22T17:31:28.519" v="58"/>
          <ac:spMkLst>
            <pc:docMk/>
            <pc:sldMk cId="2523969211" sldId="440"/>
            <ac:spMk id="10" creationId="{F4C5F811-1BF0-AE6F-2B26-D3EC94C7545C}"/>
          </ac:spMkLst>
        </pc:spChg>
        <pc:spChg chg="mod ord">
          <ac:chgData name="Szabo, Corinne" userId="5f91d2e2-9041-4610-ba2d-7466ed1f64a1" providerId="ADAL" clId="{F9DC8332-650A-4F6E-AD93-DF41712C7C1D}" dt="2024-07-22T17:31:28.519" v="58"/>
          <ac:spMkLst>
            <pc:docMk/>
            <pc:sldMk cId="2523969211" sldId="440"/>
            <ac:spMk id="11" creationId="{B0F89FDD-E988-5B91-2289-96C7D042A2A2}"/>
          </ac:spMkLst>
        </pc:spChg>
      </pc:sldChg>
      <pc:sldChg chg="modSp del mod modClrScheme chgLayout">
        <pc:chgData name="Szabo, Corinne" userId="5f91d2e2-9041-4610-ba2d-7466ed1f64a1" providerId="ADAL" clId="{F9DC8332-650A-4F6E-AD93-DF41712C7C1D}" dt="2024-07-22T17:50:08.898" v="261" actId="47"/>
        <pc:sldMkLst>
          <pc:docMk/>
          <pc:sldMk cId="755401169" sldId="2147375039"/>
        </pc:sldMkLst>
        <pc:spChg chg="mod ord">
          <ac:chgData name="Szabo, Corinne" userId="5f91d2e2-9041-4610-ba2d-7466ed1f64a1" providerId="ADAL" clId="{F9DC8332-650A-4F6E-AD93-DF41712C7C1D}" dt="2024-07-22T17:31:28.512" v="29"/>
          <ac:spMkLst>
            <pc:docMk/>
            <pc:sldMk cId="755401169" sldId="2147375039"/>
            <ac:spMk id="3" creationId="{3E2880B9-9C94-8C43-C50B-254EC4E5D1DD}"/>
          </ac:spMkLst>
        </pc:spChg>
        <pc:spChg chg="mod ord">
          <ac:chgData name="Szabo, Corinne" userId="5f91d2e2-9041-4610-ba2d-7466ed1f64a1" providerId="ADAL" clId="{F9DC8332-650A-4F6E-AD93-DF41712C7C1D}" dt="2024-07-22T17:31:28.512" v="29"/>
          <ac:spMkLst>
            <pc:docMk/>
            <pc:sldMk cId="755401169" sldId="2147375039"/>
            <ac:spMk id="9" creationId="{8E0201AB-7D34-4CEC-A747-B32565651285}"/>
          </ac:spMkLst>
        </pc:spChg>
        <pc:spChg chg="mod ord">
          <ac:chgData name="Szabo, Corinne" userId="5f91d2e2-9041-4610-ba2d-7466ed1f64a1" providerId="ADAL" clId="{F9DC8332-650A-4F6E-AD93-DF41712C7C1D}" dt="2024-07-22T17:31:28.512" v="29"/>
          <ac:spMkLst>
            <pc:docMk/>
            <pc:sldMk cId="755401169" sldId="2147375039"/>
            <ac:spMk id="20" creationId="{392992E9-E001-4536-A27F-C0790377B238}"/>
          </ac:spMkLst>
        </pc:spChg>
        <pc:spChg chg="mod ord">
          <ac:chgData name="Szabo, Corinne" userId="5f91d2e2-9041-4610-ba2d-7466ed1f64a1" providerId="ADAL" clId="{F9DC8332-650A-4F6E-AD93-DF41712C7C1D}" dt="2024-07-22T17:31:28.512" v="29"/>
          <ac:spMkLst>
            <pc:docMk/>
            <pc:sldMk cId="755401169" sldId="2147375039"/>
            <ac:spMk id="21" creationId="{C94B0F43-5981-4EBF-AA0D-E99326FFF3C1}"/>
          </ac:spMkLst>
        </pc:spChg>
        <pc:spChg chg="mod ord">
          <ac:chgData name="Szabo, Corinne" userId="5f91d2e2-9041-4610-ba2d-7466ed1f64a1" providerId="ADAL" clId="{F9DC8332-650A-4F6E-AD93-DF41712C7C1D}" dt="2024-07-22T17:31:28.512" v="29"/>
          <ac:spMkLst>
            <pc:docMk/>
            <pc:sldMk cId="755401169" sldId="2147375039"/>
            <ac:spMk id="22" creationId="{9737E8AA-65B0-4126-AB2D-0B2871F33BA8}"/>
          </ac:spMkLst>
        </pc:spChg>
        <pc:spChg chg="mod ord">
          <ac:chgData name="Szabo, Corinne" userId="5f91d2e2-9041-4610-ba2d-7466ed1f64a1" providerId="ADAL" clId="{F9DC8332-650A-4F6E-AD93-DF41712C7C1D}" dt="2024-07-22T17:31:28.512" v="29"/>
          <ac:spMkLst>
            <pc:docMk/>
            <pc:sldMk cId="755401169" sldId="2147375039"/>
            <ac:spMk id="23" creationId="{4F804B7B-57E3-4ECA-8CED-62321613275E}"/>
          </ac:spMkLst>
        </pc:spChg>
      </pc:sldChg>
      <pc:sldChg chg="addSp delSp modSp mod modNotesTx">
        <pc:chgData name="Szabo, Corinne" userId="5f91d2e2-9041-4610-ba2d-7466ed1f64a1" providerId="ADAL" clId="{F9DC8332-650A-4F6E-AD93-DF41712C7C1D}" dt="2024-07-23T18:40:11.738" v="1821" actId="6549"/>
        <pc:sldMkLst>
          <pc:docMk/>
          <pc:sldMk cId="1819784340" sldId="2147376379"/>
        </pc:sldMkLst>
        <pc:spChg chg="mod">
          <ac:chgData name="Szabo, Corinne" userId="5f91d2e2-9041-4610-ba2d-7466ed1f64a1" providerId="ADAL" clId="{F9DC8332-650A-4F6E-AD93-DF41712C7C1D}" dt="2024-07-23T18:26:55.463" v="1707" actId="20577"/>
          <ac:spMkLst>
            <pc:docMk/>
            <pc:sldMk cId="1819784340" sldId="2147376379"/>
            <ac:spMk id="2" creationId="{C7EEF273-F75C-DF33-A771-7B9BDA51F4EB}"/>
          </ac:spMkLst>
        </pc:spChg>
        <pc:picChg chg="add del">
          <ac:chgData name="Szabo, Corinne" userId="5f91d2e2-9041-4610-ba2d-7466ed1f64a1" providerId="ADAL" clId="{F9DC8332-650A-4F6E-AD93-DF41712C7C1D}" dt="2024-07-22T17:38:15.072" v="81" actId="22"/>
          <ac:picMkLst>
            <pc:docMk/>
            <pc:sldMk cId="1819784340" sldId="2147376379"/>
            <ac:picMk id="7" creationId="{3683E33B-322D-DE51-443B-5D04BC07920E}"/>
          </ac:picMkLst>
        </pc:picChg>
      </pc:sldChg>
      <pc:sldChg chg="addSp modSp mod">
        <pc:chgData name="Szabo, Corinne" userId="5f91d2e2-9041-4610-ba2d-7466ed1f64a1" providerId="ADAL" clId="{F9DC8332-650A-4F6E-AD93-DF41712C7C1D}" dt="2024-07-22T17:49:59.017" v="260" actId="1076"/>
        <pc:sldMkLst>
          <pc:docMk/>
          <pc:sldMk cId="2485596005" sldId="2147376388"/>
        </pc:sldMkLst>
        <pc:picChg chg="add mod">
          <ac:chgData name="Szabo, Corinne" userId="5f91d2e2-9041-4610-ba2d-7466ed1f64a1" providerId="ADAL" clId="{F9DC8332-650A-4F6E-AD93-DF41712C7C1D}" dt="2024-07-22T17:49:59.017" v="260" actId="1076"/>
          <ac:picMkLst>
            <pc:docMk/>
            <pc:sldMk cId="2485596005" sldId="2147376388"/>
            <ac:picMk id="2" creationId="{C57BB539-C1FC-911A-FD57-12C2B3ECF5DE}"/>
          </ac:picMkLst>
        </pc:picChg>
      </pc:sldChg>
      <pc:sldChg chg="ord">
        <pc:chgData name="Szabo, Corinne" userId="5f91d2e2-9041-4610-ba2d-7466ed1f64a1" providerId="ADAL" clId="{F9DC8332-650A-4F6E-AD93-DF41712C7C1D}" dt="2024-07-22T18:23:30.154" v="463"/>
        <pc:sldMkLst>
          <pc:docMk/>
          <pc:sldMk cId="2078864289" sldId="2147469424"/>
        </pc:sldMkLst>
      </pc:sldChg>
      <pc:sldChg chg="ord">
        <pc:chgData name="Szabo, Corinne" userId="5f91d2e2-9041-4610-ba2d-7466ed1f64a1" providerId="ADAL" clId="{F9DC8332-650A-4F6E-AD93-DF41712C7C1D}" dt="2024-07-23T15:44:19.674" v="570"/>
        <pc:sldMkLst>
          <pc:docMk/>
          <pc:sldMk cId="213603133" sldId="2147469425"/>
        </pc:sldMkLst>
      </pc:sldChg>
      <pc:sldChg chg="del">
        <pc:chgData name="Szabo, Corinne" userId="5f91d2e2-9041-4610-ba2d-7466ed1f64a1" providerId="ADAL" clId="{F9DC8332-650A-4F6E-AD93-DF41712C7C1D}" dt="2024-07-22T17:43:11.402" v="151" actId="47"/>
        <pc:sldMkLst>
          <pc:docMk/>
          <pc:sldMk cId="3179632177" sldId="2147471291"/>
        </pc:sldMkLst>
      </pc:sldChg>
      <pc:sldChg chg="del">
        <pc:chgData name="Szabo, Corinne" userId="5f91d2e2-9041-4610-ba2d-7466ed1f64a1" providerId="ADAL" clId="{F9DC8332-650A-4F6E-AD93-DF41712C7C1D}" dt="2024-07-22T18:22:25.401" v="460" actId="47"/>
        <pc:sldMkLst>
          <pc:docMk/>
          <pc:sldMk cId="2897473442" sldId="2147471296"/>
        </pc:sldMkLst>
      </pc:sldChg>
      <pc:sldChg chg="modSp mod modClrScheme chgLayout">
        <pc:chgData name="Szabo, Corinne" userId="5f91d2e2-9041-4610-ba2d-7466ed1f64a1" providerId="ADAL" clId="{F9DC8332-650A-4F6E-AD93-DF41712C7C1D}" dt="2024-07-22T17:31:28.515" v="36"/>
        <pc:sldMkLst>
          <pc:docMk/>
          <pc:sldMk cId="2751883659" sldId="2147478377"/>
        </pc:sldMkLst>
        <pc:spChg chg="mod ord">
          <ac:chgData name="Szabo, Corinne" userId="5f91d2e2-9041-4610-ba2d-7466ed1f64a1" providerId="ADAL" clId="{F9DC8332-650A-4F6E-AD93-DF41712C7C1D}" dt="2024-07-22T17:31:28.515" v="36"/>
          <ac:spMkLst>
            <pc:docMk/>
            <pc:sldMk cId="2751883659" sldId="2147478377"/>
            <ac:spMk id="3" creationId="{0250E2A3-4849-EF62-F331-61969852F588}"/>
          </ac:spMkLst>
        </pc:spChg>
        <pc:spChg chg="mod ord">
          <ac:chgData name="Szabo, Corinne" userId="5f91d2e2-9041-4610-ba2d-7466ed1f64a1" providerId="ADAL" clId="{F9DC8332-650A-4F6E-AD93-DF41712C7C1D}" dt="2024-07-22T17:31:28.515" v="36"/>
          <ac:spMkLst>
            <pc:docMk/>
            <pc:sldMk cId="2751883659" sldId="2147478377"/>
            <ac:spMk id="6" creationId="{22679340-A27F-4007-91B4-6A30A00E4841}"/>
          </ac:spMkLst>
        </pc:spChg>
      </pc:sldChg>
      <pc:sldChg chg="del">
        <pc:chgData name="Szabo, Corinne" userId="5f91d2e2-9041-4610-ba2d-7466ed1f64a1" providerId="ADAL" clId="{F9DC8332-650A-4F6E-AD93-DF41712C7C1D}" dt="2024-07-22T17:43:17.189" v="152" actId="47"/>
        <pc:sldMkLst>
          <pc:docMk/>
          <pc:sldMk cId="2635828344" sldId="2147478380"/>
        </pc:sldMkLst>
      </pc:sldChg>
      <pc:sldChg chg="del">
        <pc:chgData name="Szabo, Corinne" userId="5f91d2e2-9041-4610-ba2d-7466ed1f64a1" providerId="ADAL" clId="{F9DC8332-650A-4F6E-AD93-DF41712C7C1D}" dt="2024-07-22T17:43:41.945" v="161" actId="47"/>
        <pc:sldMkLst>
          <pc:docMk/>
          <pc:sldMk cId="2978573338" sldId="2147478427"/>
        </pc:sldMkLst>
      </pc:sldChg>
      <pc:sldChg chg="del">
        <pc:chgData name="Szabo, Corinne" userId="5f91d2e2-9041-4610-ba2d-7466ed1f64a1" providerId="ADAL" clId="{F9DC8332-650A-4F6E-AD93-DF41712C7C1D}" dt="2024-07-22T17:43:42.775" v="162" actId="47"/>
        <pc:sldMkLst>
          <pc:docMk/>
          <pc:sldMk cId="2990335971" sldId="2147478428"/>
        </pc:sldMkLst>
      </pc:sldChg>
      <pc:sldChg chg="del">
        <pc:chgData name="Szabo, Corinne" userId="5f91d2e2-9041-4610-ba2d-7466ed1f64a1" providerId="ADAL" clId="{F9DC8332-650A-4F6E-AD93-DF41712C7C1D}" dt="2024-07-22T17:43:43.365" v="163" actId="47"/>
        <pc:sldMkLst>
          <pc:docMk/>
          <pc:sldMk cId="267048850" sldId="2147478429"/>
        </pc:sldMkLst>
      </pc:sldChg>
      <pc:sldChg chg="del">
        <pc:chgData name="Szabo, Corinne" userId="5f91d2e2-9041-4610-ba2d-7466ed1f64a1" providerId="ADAL" clId="{F9DC8332-650A-4F6E-AD93-DF41712C7C1D}" dt="2024-07-22T17:43:43.969" v="164" actId="47"/>
        <pc:sldMkLst>
          <pc:docMk/>
          <pc:sldMk cId="1177531270" sldId="2147478430"/>
        </pc:sldMkLst>
      </pc:sldChg>
      <pc:sldChg chg="delSp modSp mod delAnim">
        <pc:chgData name="Szabo, Corinne" userId="5f91d2e2-9041-4610-ba2d-7466ed1f64a1" providerId="ADAL" clId="{F9DC8332-650A-4F6E-AD93-DF41712C7C1D}" dt="2024-07-22T18:24:16.202" v="482" actId="5793"/>
        <pc:sldMkLst>
          <pc:docMk/>
          <pc:sldMk cId="770066412" sldId="2147478431"/>
        </pc:sldMkLst>
        <pc:spChg chg="del">
          <ac:chgData name="Szabo, Corinne" userId="5f91d2e2-9041-4610-ba2d-7466ed1f64a1" providerId="ADAL" clId="{F9DC8332-650A-4F6E-AD93-DF41712C7C1D}" dt="2024-07-22T18:23:53.261" v="464" actId="478"/>
          <ac:spMkLst>
            <pc:docMk/>
            <pc:sldMk cId="770066412" sldId="2147478431"/>
            <ac:spMk id="2" creationId="{46AD5E5B-DDAF-E58D-5E40-DB77582E9C9E}"/>
          </ac:spMkLst>
        </pc:spChg>
        <pc:spChg chg="mod">
          <ac:chgData name="Szabo, Corinne" userId="5f91d2e2-9041-4610-ba2d-7466ed1f64a1" providerId="ADAL" clId="{F9DC8332-650A-4F6E-AD93-DF41712C7C1D}" dt="2024-07-22T18:24:16.202" v="482" actId="5793"/>
          <ac:spMkLst>
            <pc:docMk/>
            <pc:sldMk cId="770066412" sldId="2147478431"/>
            <ac:spMk id="3" creationId="{1DA80A07-7441-C132-F6C7-F710DAA91247}"/>
          </ac:spMkLst>
        </pc:spChg>
      </pc:sldChg>
      <pc:sldChg chg="modSp del mod modClrScheme chgLayout">
        <pc:chgData name="Szabo, Corinne" userId="5f91d2e2-9041-4610-ba2d-7466ed1f64a1" providerId="ADAL" clId="{F9DC8332-650A-4F6E-AD93-DF41712C7C1D}" dt="2024-07-22T17:32:18.123" v="78" actId="47"/>
        <pc:sldMkLst>
          <pc:docMk/>
          <pc:sldMk cId="2561736650" sldId="2147478433"/>
        </pc:sldMkLst>
        <pc:spChg chg="mod ord">
          <ac:chgData name="Szabo, Corinne" userId="5f91d2e2-9041-4610-ba2d-7466ed1f64a1" providerId="ADAL" clId="{F9DC8332-650A-4F6E-AD93-DF41712C7C1D}" dt="2024-07-22T17:31:28.512" v="30"/>
          <ac:spMkLst>
            <pc:docMk/>
            <pc:sldMk cId="2561736650" sldId="2147478433"/>
            <ac:spMk id="2" creationId="{83881942-8169-1B82-EE15-9210F19A7818}"/>
          </ac:spMkLst>
        </pc:spChg>
        <pc:spChg chg="mod ord">
          <ac:chgData name="Szabo, Corinne" userId="5f91d2e2-9041-4610-ba2d-7466ed1f64a1" providerId="ADAL" clId="{F9DC8332-650A-4F6E-AD93-DF41712C7C1D}" dt="2024-07-22T17:31:28.512" v="30"/>
          <ac:spMkLst>
            <pc:docMk/>
            <pc:sldMk cId="2561736650" sldId="2147478433"/>
            <ac:spMk id="4" creationId="{1113CC18-57ED-856B-2ECC-D3C76D056597}"/>
          </ac:spMkLst>
        </pc:spChg>
        <pc:spChg chg="mod ord">
          <ac:chgData name="Szabo, Corinne" userId="5f91d2e2-9041-4610-ba2d-7466ed1f64a1" providerId="ADAL" clId="{F9DC8332-650A-4F6E-AD93-DF41712C7C1D}" dt="2024-07-22T17:31:28.512" v="30"/>
          <ac:spMkLst>
            <pc:docMk/>
            <pc:sldMk cId="2561736650" sldId="2147478433"/>
            <ac:spMk id="5" creationId="{23FBFC8C-F218-1E44-C115-295B5B71F065}"/>
          </ac:spMkLst>
        </pc:spChg>
      </pc:sldChg>
      <pc:sldChg chg="del">
        <pc:chgData name="Szabo, Corinne" userId="5f91d2e2-9041-4610-ba2d-7466ed1f64a1" providerId="ADAL" clId="{F9DC8332-650A-4F6E-AD93-DF41712C7C1D}" dt="2024-07-22T17:43:41.002" v="160" actId="47"/>
        <pc:sldMkLst>
          <pc:docMk/>
          <pc:sldMk cId="1925786361" sldId="2147478434"/>
        </pc:sldMkLst>
      </pc:sldChg>
      <pc:sldChg chg="modSp del mod modClrScheme chgLayout">
        <pc:chgData name="Szabo, Corinne" userId="5f91d2e2-9041-4610-ba2d-7466ed1f64a1" providerId="ADAL" clId="{F9DC8332-650A-4F6E-AD93-DF41712C7C1D}" dt="2024-07-22T17:43:35.660" v="159" actId="47"/>
        <pc:sldMkLst>
          <pc:docMk/>
          <pc:sldMk cId="1350008670" sldId="2147478436"/>
        </pc:sldMkLst>
        <pc:spChg chg="mod ord">
          <ac:chgData name="Szabo, Corinne" userId="5f91d2e2-9041-4610-ba2d-7466ed1f64a1" providerId="ADAL" clId="{F9DC8332-650A-4F6E-AD93-DF41712C7C1D}" dt="2024-07-22T17:31:28.516" v="44"/>
          <ac:spMkLst>
            <pc:docMk/>
            <pc:sldMk cId="1350008670" sldId="2147478436"/>
            <ac:spMk id="3" creationId="{0250E2A3-4849-EF62-F331-61969852F588}"/>
          </ac:spMkLst>
        </pc:spChg>
        <pc:spChg chg="mod ord">
          <ac:chgData name="Szabo, Corinne" userId="5f91d2e2-9041-4610-ba2d-7466ed1f64a1" providerId="ADAL" clId="{F9DC8332-650A-4F6E-AD93-DF41712C7C1D}" dt="2024-07-22T17:31:28.516" v="44"/>
          <ac:spMkLst>
            <pc:docMk/>
            <pc:sldMk cId="1350008670" sldId="2147478436"/>
            <ac:spMk id="6" creationId="{22679340-A27F-4007-91B4-6A30A00E4841}"/>
          </ac:spMkLst>
        </pc:spChg>
      </pc:sldChg>
      <pc:sldChg chg="ord">
        <pc:chgData name="Szabo, Corinne" userId="5f91d2e2-9041-4610-ba2d-7466ed1f64a1" providerId="ADAL" clId="{F9DC8332-650A-4F6E-AD93-DF41712C7C1D}" dt="2024-07-22T18:23:30.154" v="463"/>
        <pc:sldMkLst>
          <pc:docMk/>
          <pc:sldMk cId="179229193" sldId="2147478438"/>
        </pc:sldMkLst>
      </pc:sldChg>
      <pc:sldChg chg="modSp del mod">
        <pc:chgData name="Szabo, Corinne" userId="5f91d2e2-9041-4610-ba2d-7466ed1f64a1" providerId="ADAL" clId="{F9DC8332-650A-4F6E-AD93-DF41712C7C1D}" dt="2024-07-22T17:46:22.902" v="219" actId="47"/>
        <pc:sldMkLst>
          <pc:docMk/>
          <pc:sldMk cId="3951998797" sldId="2147478439"/>
        </pc:sldMkLst>
        <pc:spChg chg="mod">
          <ac:chgData name="Szabo, Corinne" userId="5f91d2e2-9041-4610-ba2d-7466ed1f64a1" providerId="ADAL" clId="{F9DC8332-650A-4F6E-AD93-DF41712C7C1D}" dt="2024-07-22T17:46:12.319" v="218" actId="1076"/>
          <ac:spMkLst>
            <pc:docMk/>
            <pc:sldMk cId="3951998797" sldId="2147478439"/>
            <ac:spMk id="6" creationId="{ECE9560A-98D5-9EEA-8F55-AF63A16540C0}"/>
          </ac:spMkLst>
        </pc:spChg>
      </pc:sldChg>
      <pc:sldChg chg="del">
        <pc:chgData name="Szabo, Corinne" userId="5f91d2e2-9041-4610-ba2d-7466ed1f64a1" providerId="ADAL" clId="{F9DC8332-650A-4F6E-AD93-DF41712C7C1D}" dt="2024-07-22T17:43:17.720" v="153" actId="47"/>
        <pc:sldMkLst>
          <pc:docMk/>
          <pc:sldMk cId="3508200812" sldId="2147478440"/>
        </pc:sldMkLst>
      </pc:sldChg>
      <pc:sldChg chg="modSp mod modNotesTx">
        <pc:chgData name="Szabo, Corinne" userId="5f91d2e2-9041-4610-ba2d-7466ed1f64a1" providerId="ADAL" clId="{F9DC8332-650A-4F6E-AD93-DF41712C7C1D}" dt="2024-07-22T17:46:49.429" v="258" actId="20577"/>
        <pc:sldMkLst>
          <pc:docMk/>
          <pc:sldMk cId="217755637" sldId="2147478441"/>
        </pc:sldMkLst>
        <pc:spChg chg="mod">
          <ac:chgData name="Szabo, Corinne" userId="5f91d2e2-9041-4610-ba2d-7466ed1f64a1" providerId="ADAL" clId="{F9DC8332-650A-4F6E-AD93-DF41712C7C1D}" dt="2024-07-22T17:46:31.195" v="220" actId="20577"/>
          <ac:spMkLst>
            <pc:docMk/>
            <pc:sldMk cId="217755637" sldId="2147478441"/>
            <ac:spMk id="6" creationId="{ECE9560A-98D5-9EEA-8F55-AF63A16540C0}"/>
          </ac:spMkLst>
        </pc:spChg>
      </pc:sldChg>
      <pc:sldChg chg="modSp del mod modClrScheme chgLayout">
        <pc:chgData name="Szabo, Corinne" userId="5f91d2e2-9041-4610-ba2d-7466ed1f64a1" providerId="ADAL" clId="{F9DC8332-650A-4F6E-AD93-DF41712C7C1D}" dt="2024-07-22T17:32:19.234" v="79" actId="47"/>
        <pc:sldMkLst>
          <pc:docMk/>
          <pc:sldMk cId="489980690" sldId="2147478444"/>
        </pc:sldMkLst>
        <pc:spChg chg="mod ord">
          <ac:chgData name="Szabo, Corinne" userId="5f91d2e2-9041-4610-ba2d-7466ed1f64a1" providerId="ADAL" clId="{F9DC8332-650A-4F6E-AD93-DF41712C7C1D}" dt="2024-07-22T17:31:28.514" v="31"/>
          <ac:spMkLst>
            <pc:docMk/>
            <pc:sldMk cId="489980690" sldId="2147478444"/>
            <ac:spMk id="2" creationId="{3403F0C1-3C57-E819-72C8-263EF76C906B}"/>
          </ac:spMkLst>
        </pc:spChg>
        <pc:spChg chg="mod ord">
          <ac:chgData name="Szabo, Corinne" userId="5f91d2e2-9041-4610-ba2d-7466ed1f64a1" providerId="ADAL" clId="{F9DC8332-650A-4F6E-AD93-DF41712C7C1D}" dt="2024-07-22T17:31:28.514" v="31"/>
          <ac:spMkLst>
            <pc:docMk/>
            <pc:sldMk cId="489980690" sldId="2147478444"/>
            <ac:spMk id="3" creationId="{7FC15761-378B-E39C-04E2-60DC17F33DAC}"/>
          </ac:spMkLst>
        </pc:spChg>
        <pc:spChg chg="mod ord">
          <ac:chgData name="Szabo, Corinne" userId="5f91d2e2-9041-4610-ba2d-7466ed1f64a1" providerId="ADAL" clId="{F9DC8332-650A-4F6E-AD93-DF41712C7C1D}" dt="2024-07-22T17:31:28.514" v="31"/>
          <ac:spMkLst>
            <pc:docMk/>
            <pc:sldMk cId="489980690" sldId="2147478444"/>
            <ac:spMk id="4" creationId="{975AD373-E7B3-D822-D71D-2CD8C9E345D8}"/>
          </ac:spMkLst>
        </pc:spChg>
        <pc:spChg chg="mod ord">
          <ac:chgData name="Szabo, Corinne" userId="5f91d2e2-9041-4610-ba2d-7466ed1f64a1" providerId="ADAL" clId="{F9DC8332-650A-4F6E-AD93-DF41712C7C1D}" dt="2024-07-22T17:31:28.514" v="31"/>
          <ac:spMkLst>
            <pc:docMk/>
            <pc:sldMk cId="489980690" sldId="2147478444"/>
            <ac:spMk id="5" creationId="{2FDBAAB1-2BC7-A981-942B-434491B096B4}"/>
          </ac:spMkLst>
        </pc:spChg>
      </pc:sldChg>
      <pc:sldChg chg="addSp modSp new mod modNotesTx">
        <pc:chgData name="Szabo, Corinne" userId="5f91d2e2-9041-4610-ba2d-7466ed1f64a1" providerId="ADAL" clId="{F9DC8332-650A-4F6E-AD93-DF41712C7C1D}" dt="2024-07-23T15:56:51.270" v="654" actId="20577"/>
        <pc:sldMkLst>
          <pc:docMk/>
          <pc:sldMk cId="336578954" sldId="2147478454"/>
        </pc:sldMkLst>
        <pc:spChg chg="add mod">
          <ac:chgData name="Szabo, Corinne" userId="5f91d2e2-9041-4610-ba2d-7466ed1f64a1" providerId="ADAL" clId="{F9DC8332-650A-4F6E-AD93-DF41712C7C1D}" dt="2024-07-22T18:27:51.113" v="492" actId="1076"/>
          <ac:spMkLst>
            <pc:docMk/>
            <pc:sldMk cId="336578954" sldId="2147478454"/>
            <ac:spMk id="3" creationId="{2FA47D6D-A3EC-3194-CA91-3496BD431811}"/>
          </ac:spMkLst>
        </pc:spChg>
        <pc:spChg chg="add mod">
          <ac:chgData name="Szabo, Corinne" userId="5f91d2e2-9041-4610-ba2d-7466ed1f64a1" providerId="ADAL" clId="{F9DC8332-650A-4F6E-AD93-DF41712C7C1D}" dt="2024-07-23T15:56:51.270" v="654" actId="20577"/>
          <ac:spMkLst>
            <pc:docMk/>
            <pc:sldMk cId="336578954" sldId="2147478454"/>
            <ac:spMk id="5" creationId="{6B4007FE-E7D0-09B4-4EBB-A38C1E61D414}"/>
          </ac:spMkLst>
        </pc:spChg>
      </pc:sldChg>
      <pc:sldChg chg="del">
        <pc:chgData name="Szabo, Corinne" userId="5f91d2e2-9041-4610-ba2d-7466ed1f64a1" providerId="ADAL" clId="{F9DC8332-650A-4F6E-AD93-DF41712C7C1D}" dt="2024-07-22T18:22:29.068" v="461" actId="47"/>
        <pc:sldMkLst>
          <pc:docMk/>
          <pc:sldMk cId="2231182306" sldId="2147478454"/>
        </pc:sldMkLst>
      </pc:sldChg>
      <pc:sldChg chg="new del">
        <pc:chgData name="Szabo, Corinne" userId="5f91d2e2-9041-4610-ba2d-7466ed1f64a1" providerId="ADAL" clId="{F9DC8332-650A-4F6E-AD93-DF41712C7C1D}" dt="2024-07-22T18:26:42.791" v="484" actId="680"/>
        <pc:sldMkLst>
          <pc:docMk/>
          <pc:sldMk cId="2844494731" sldId="2147478454"/>
        </pc:sldMkLst>
      </pc:sldChg>
      <pc:sldChg chg="addSp modSp new mod modNotesTx">
        <pc:chgData name="Szabo, Corinne" userId="5f91d2e2-9041-4610-ba2d-7466ed1f64a1" providerId="ADAL" clId="{F9DC8332-650A-4F6E-AD93-DF41712C7C1D}" dt="2024-07-23T16:09:30.996" v="1041" actId="6549"/>
        <pc:sldMkLst>
          <pc:docMk/>
          <pc:sldMk cId="20468741" sldId="2147478455"/>
        </pc:sldMkLst>
        <pc:spChg chg="add mod">
          <ac:chgData name="Szabo, Corinne" userId="5f91d2e2-9041-4610-ba2d-7466ed1f64a1" providerId="ADAL" clId="{F9DC8332-650A-4F6E-AD93-DF41712C7C1D}" dt="2024-07-23T15:55:08.998" v="615" actId="1076"/>
          <ac:spMkLst>
            <pc:docMk/>
            <pc:sldMk cId="20468741" sldId="2147478455"/>
            <ac:spMk id="3" creationId="{2D6517BB-0A99-1FCE-F93C-12047A45867F}"/>
          </ac:spMkLst>
        </pc:spChg>
        <pc:spChg chg="add mod">
          <ac:chgData name="Szabo, Corinne" userId="5f91d2e2-9041-4610-ba2d-7466ed1f64a1" providerId="ADAL" clId="{F9DC8332-650A-4F6E-AD93-DF41712C7C1D}" dt="2024-07-23T16:09:30.996" v="1041" actId="6549"/>
          <ac:spMkLst>
            <pc:docMk/>
            <pc:sldMk cId="20468741" sldId="2147478455"/>
            <ac:spMk id="6" creationId="{440BC57B-4640-9493-2461-94630497D1CD}"/>
          </ac:spMkLst>
        </pc:spChg>
        <pc:graphicFrameChg chg="add mod">
          <ac:chgData name="Szabo, Corinne" userId="5f91d2e2-9041-4610-ba2d-7466ed1f64a1" providerId="ADAL" clId="{F9DC8332-650A-4F6E-AD93-DF41712C7C1D}" dt="2024-07-23T16:02:58.542" v="659" actId="14100"/>
          <ac:graphicFrameMkLst>
            <pc:docMk/>
            <pc:sldMk cId="20468741" sldId="2147478455"/>
            <ac:graphicFrameMk id="4" creationId="{E799EE2E-ED8D-B891-C641-966CDB956695}"/>
          </ac:graphicFrameMkLst>
        </pc:graphicFrameChg>
        <pc:graphicFrameChg chg="add mod">
          <ac:chgData name="Szabo, Corinne" userId="5f91d2e2-9041-4610-ba2d-7466ed1f64a1" providerId="ADAL" clId="{F9DC8332-650A-4F6E-AD93-DF41712C7C1D}" dt="2024-07-23T16:03:04.676" v="660" actId="14100"/>
          <ac:graphicFrameMkLst>
            <pc:docMk/>
            <pc:sldMk cId="20468741" sldId="2147478455"/>
            <ac:graphicFrameMk id="5" creationId="{D11C9C46-5E80-D8D9-11E8-21A9FDEA295C}"/>
          </ac:graphicFrameMkLst>
        </pc:graphicFrameChg>
      </pc:sldChg>
      <pc:sldMasterChg chg="del delSldLayout">
        <pc:chgData name="Szabo, Corinne" userId="5f91d2e2-9041-4610-ba2d-7466ed1f64a1" providerId="ADAL" clId="{F9DC8332-650A-4F6E-AD93-DF41712C7C1D}" dt="2024-07-22T17:31:28.130" v="8"/>
        <pc:sldMasterMkLst>
          <pc:docMk/>
          <pc:sldMasterMk cId="31863330" sldId="2147483660"/>
        </pc:sldMasterMkLst>
        <pc:sldLayoutChg chg="del">
          <pc:chgData name="Szabo, Corinne" userId="5f91d2e2-9041-4610-ba2d-7466ed1f64a1" providerId="ADAL" clId="{F9DC8332-650A-4F6E-AD93-DF41712C7C1D}" dt="2024-07-22T17:31:28.130" v="8"/>
          <pc:sldLayoutMkLst>
            <pc:docMk/>
            <pc:sldMasterMk cId="31863330" sldId="2147483660"/>
            <pc:sldLayoutMk cId="2798597219" sldId="2147483661"/>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860025889" sldId="2147483662"/>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580171662" sldId="2147483663"/>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41262922" sldId="2147483664"/>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971854364" sldId="2147483665"/>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1232676584" sldId="2147483666"/>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3964149073" sldId="2147484087"/>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932606103" sldId="2147484088"/>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4109735549" sldId="2147484089"/>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1877101822" sldId="2147484090"/>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3623976430" sldId="2147484091"/>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1932641140" sldId="2147484092"/>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1824036071" sldId="2147484093"/>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851663802" sldId="2147484094"/>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4138587290" sldId="2147484095"/>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143658233" sldId="2147484096"/>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042220139" sldId="2147484097"/>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3712156773" sldId="2147484098"/>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421125248" sldId="2147484099"/>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885368879" sldId="2147484100"/>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1843975786" sldId="2147484101"/>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166191437" sldId="2147484102"/>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483566849" sldId="2147484103"/>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093735413" sldId="2147484104"/>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1862826305" sldId="2147484105"/>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3161148200" sldId="2147484106"/>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3052680755" sldId="2147484107"/>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4084159487" sldId="2147484108"/>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3224856278" sldId="2147484109"/>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276161475" sldId="2147484110"/>
          </pc:sldLayoutMkLst>
        </pc:sldLayoutChg>
        <pc:sldLayoutChg chg="del">
          <pc:chgData name="Szabo, Corinne" userId="5f91d2e2-9041-4610-ba2d-7466ed1f64a1" providerId="ADAL" clId="{F9DC8332-650A-4F6E-AD93-DF41712C7C1D}" dt="2024-07-22T17:31:28.130" v="8"/>
          <pc:sldLayoutMkLst>
            <pc:docMk/>
            <pc:sldMasterMk cId="31863330" sldId="2147483660"/>
            <pc:sldLayoutMk cId="2635626972" sldId="2147484111"/>
          </pc:sldLayoutMkLst>
        </pc:sldLayoutChg>
      </pc:sldMasterChg>
      <pc:sldMasterChg chg="del sldLayoutOrd">
        <pc:chgData name="Szabo, Corinne" userId="5f91d2e2-9041-4610-ba2d-7466ed1f64a1" providerId="ADAL" clId="{F9DC8332-650A-4F6E-AD93-DF41712C7C1D}" dt="2024-07-22T17:31:28.398" v="23"/>
        <pc:sldMasterMkLst>
          <pc:docMk/>
          <pc:sldMasterMk cId="1356614480" sldId="2147483734"/>
        </pc:sldMasterMkLst>
      </pc:sldMasterChg>
      <pc:sldMasterChg chg="del delSldLayout">
        <pc:chgData name="Szabo, Corinne" userId="5f91d2e2-9041-4610-ba2d-7466ed1f64a1" providerId="ADAL" clId="{F9DC8332-650A-4F6E-AD93-DF41712C7C1D}" dt="2024-07-22T17:31:28.137" v="10"/>
        <pc:sldMasterMkLst>
          <pc:docMk/>
          <pc:sldMasterMk cId="4103186230" sldId="2147483776"/>
        </pc:sldMasterMkLst>
        <pc:sldLayoutChg chg="del">
          <pc:chgData name="Szabo, Corinne" userId="5f91d2e2-9041-4610-ba2d-7466ed1f64a1" providerId="ADAL" clId="{F9DC8332-650A-4F6E-AD93-DF41712C7C1D}" dt="2024-07-22T17:31:28.137" v="10"/>
          <pc:sldLayoutMkLst>
            <pc:docMk/>
            <pc:sldMasterMk cId="4103186230" sldId="2147483776"/>
            <pc:sldLayoutMk cId="4097279898" sldId="2147483777"/>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110427792" sldId="2147483778"/>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918093204" sldId="2147483779"/>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649676394" sldId="2147483780"/>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571455000" sldId="2147483781"/>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867300647" sldId="2147483782"/>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1225859" sldId="2147483783"/>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48855754" sldId="2147483784"/>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949871754" sldId="2147483785"/>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4104011099" sldId="2147483786"/>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136220635" sldId="2147483787"/>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389224437" sldId="2147483788"/>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959144018" sldId="2147483789"/>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521753981" sldId="2147483790"/>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4195193064" sldId="2147483791"/>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771164305" sldId="2147483792"/>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846460957" sldId="2147483793"/>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65953302" sldId="2147483794"/>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429533458" sldId="2147483795"/>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877820842" sldId="2147483796"/>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397219681" sldId="2147483797"/>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115995202" sldId="2147483798"/>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726504878" sldId="2147483799"/>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447411365" sldId="2147483800"/>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917606306" sldId="2147483801"/>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84723374" sldId="2147483802"/>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265966237" sldId="2147483803"/>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092985971" sldId="2147483804"/>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44671581" sldId="2147483805"/>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132419154" sldId="2147483806"/>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70113919" sldId="2147483807"/>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299077052" sldId="2147483808"/>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288355970" sldId="2147483809"/>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313597974" sldId="2147483810"/>
          </pc:sldLayoutMkLst>
        </pc:sldLayoutChg>
        <pc:sldLayoutChg chg="del">
          <pc:chgData name="Szabo, Corinne" userId="5f91d2e2-9041-4610-ba2d-7466ed1f64a1" providerId="ADAL" clId="{F9DC8332-650A-4F6E-AD93-DF41712C7C1D}" dt="2024-07-22T17:31:28.137" v="10"/>
          <pc:sldLayoutMkLst>
            <pc:docMk/>
            <pc:sldMasterMk cId="4103186230" sldId="2147483776"/>
            <pc:sldLayoutMk cId="149036817" sldId="2147483811"/>
          </pc:sldLayoutMkLst>
        </pc:sldLayoutChg>
      </pc:sldMasterChg>
      <pc:sldMasterChg chg="del delSldLayout">
        <pc:chgData name="Szabo, Corinne" userId="5f91d2e2-9041-4610-ba2d-7466ed1f64a1" providerId="ADAL" clId="{F9DC8332-650A-4F6E-AD93-DF41712C7C1D}" dt="2024-07-22T17:31:28.139" v="11"/>
        <pc:sldMasterMkLst>
          <pc:docMk/>
          <pc:sldMasterMk cId="3169677107" sldId="2147483812"/>
        </pc:sldMasterMkLst>
        <pc:sldLayoutChg chg="del">
          <pc:chgData name="Szabo, Corinne" userId="5f91d2e2-9041-4610-ba2d-7466ed1f64a1" providerId="ADAL" clId="{F9DC8332-650A-4F6E-AD93-DF41712C7C1D}" dt="2024-07-22T17:31:28.139" v="11"/>
          <pc:sldLayoutMkLst>
            <pc:docMk/>
            <pc:sldMasterMk cId="3169677107" sldId="2147483812"/>
            <pc:sldLayoutMk cId="2457607918" sldId="2147483813"/>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1557461076" sldId="2147483814"/>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3848734399" sldId="2147483815"/>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1960387455" sldId="2147483816"/>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513516117" sldId="2147483817"/>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889948703" sldId="2147483818"/>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2656113193" sldId="2147483819"/>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1275970661" sldId="2147483820"/>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115960450" sldId="2147483821"/>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2365489311" sldId="2147483822"/>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517602454" sldId="2147483823"/>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2686250116" sldId="2147483824"/>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446517176" sldId="2147483825"/>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1184429318" sldId="2147483826"/>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1553712839" sldId="2147483827"/>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440755474" sldId="2147483828"/>
          </pc:sldLayoutMkLst>
        </pc:sldLayoutChg>
        <pc:sldLayoutChg chg="del">
          <pc:chgData name="Szabo, Corinne" userId="5f91d2e2-9041-4610-ba2d-7466ed1f64a1" providerId="ADAL" clId="{F9DC8332-650A-4F6E-AD93-DF41712C7C1D}" dt="2024-07-22T17:31:28.139" v="11"/>
          <pc:sldLayoutMkLst>
            <pc:docMk/>
            <pc:sldMasterMk cId="3169677107" sldId="2147483812"/>
            <pc:sldLayoutMk cId="3448368397" sldId="2147483829"/>
          </pc:sldLayoutMkLst>
        </pc:sldLayoutChg>
      </pc:sldMasterChg>
      <pc:sldMasterChg chg="del delSldLayout">
        <pc:chgData name="Szabo, Corinne" userId="5f91d2e2-9041-4610-ba2d-7466ed1f64a1" providerId="ADAL" clId="{F9DC8332-650A-4F6E-AD93-DF41712C7C1D}" dt="2024-07-22T17:31:28.142" v="12"/>
        <pc:sldMasterMkLst>
          <pc:docMk/>
          <pc:sldMasterMk cId="712208673" sldId="2147483831"/>
        </pc:sldMasterMkLst>
        <pc:sldLayoutChg chg="del">
          <pc:chgData name="Szabo, Corinne" userId="5f91d2e2-9041-4610-ba2d-7466ed1f64a1" providerId="ADAL" clId="{F9DC8332-650A-4F6E-AD93-DF41712C7C1D}" dt="2024-07-22T17:31:28.142" v="12"/>
          <pc:sldLayoutMkLst>
            <pc:docMk/>
            <pc:sldMasterMk cId="712208673" sldId="2147483831"/>
            <pc:sldLayoutMk cId="3978314253" sldId="2147483832"/>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48462721" sldId="2147483833"/>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738301995" sldId="2147483834"/>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544087717" sldId="2147483835"/>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005164943" sldId="2147483836"/>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822860867" sldId="2147483837"/>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072247312" sldId="2147483838"/>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682609596" sldId="2147483839"/>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074968751" sldId="2147483840"/>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946997683" sldId="2147483841"/>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749898911" sldId="2147483842"/>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300981173" sldId="2147483843"/>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855407983" sldId="2147483844"/>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167538092" sldId="2147483845"/>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157045882" sldId="2147483846"/>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203679043" sldId="2147483847"/>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704470220" sldId="2147483848"/>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413799581" sldId="2147483849"/>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860623992" sldId="2147483850"/>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159446640" sldId="2147483851"/>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567992324" sldId="2147483852"/>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2368434463" sldId="2147483853"/>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628283144" sldId="2147483854"/>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54350795" sldId="2147483855"/>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662784419" sldId="2147483856"/>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43523917" sldId="2147483857"/>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162028687" sldId="2147483858"/>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4266284006" sldId="2147483859"/>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73795386" sldId="2147483860"/>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585739347" sldId="2147483861"/>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448929671" sldId="2147483862"/>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408218354" sldId="2147483863"/>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4269137163" sldId="2147483864"/>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135689309" sldId="2147483865"/>
          </pc:sldLayoutMkLst>
        </pc:sldLayoutChg>
        <pc:sldLayoutChg chg="del">
          <pc:chgData name="Szabo, Corinne" userId="5f91d2e2-9041-4610-ba2d-7466ed1f64a1" providerId="ADAL" clId="{F9DC8332-650A-4F6E-AD93-DF41712C7C1D}" dt="2024-07-22T17:31:28.142" v="12"/>
          <pc:sldLayoutMkLst>
            <pc:docMk/>
            <pc:sldMasterMk cId="712208673" sldId="2147483831"/>
            <pc:sldLayoutMk cId="3413734348" sldId="2147483866"/>
          </pc:sldLayoutMkLst>
        </pc:sldLayoutChg>
      </pc:sldMasterChg>
      <pc:sldMasterChg chg="delSldLayout modSldLayout sldLayoutOrd">
        <pc:chgData name="Szabo, Corinne" userId="5f91d2e2-9041-4610-ba2d-7466ed1f64a1" providerId="ADAL" clId="{F9DC8332-650A-4F6E-AD93-DF41712C7C1D}" dt="2024-07-22T17:44:24.469" v="168" actId="47"/>
        <pc:sldMasterMkLst>
          <pc:docMk/>
          <pc:sldMasterMk cId="3438207253" sldId="2147483868"/>
        </pc:sldMasterMkLst>
        <pc:sldLayoutChg chg="modSp mod ord">
          <pc:chgData name="Szabo, Corinne" userId="5f91d2e2-9041-4610-ba2d-7466ed1f64a1" providerId="ADAL" clId="{F9DC8332-650A-4F6E-AD93-DF41712C7C1D}" dt="2024-07-22T17:31:28.292" v="20"/>
          <pc:sldLayoutMkLst>
            <pc:docMk/>
            <pc:sldMasterMk cId="3438207253" sldId="2147483868"/>
            <pc:sldLayoutMk cId="816258540" sldId="2147484363"/>
          </pc:sldLayoutMkLst>
          <pc:spChg chg="mod">
            <ac:chgData name="Szabo, Corinne" userId="5f91d2e2-9041-4610-ba2d-7466ed1f64a1" providerId="ADAL" clId="{F9DC8332-650A-4F6E-AD93-DF41712C7C1D}" dt="2024-07-22T17:31:28.292" v="20"/>
            <ac:spMkLst>
              <pc:docMk/>
              <pc:sldMasterMk cId="3438207253" sldId="2147483868"/>
              <pc:sldLayoutMk cId="816258540" sldId="2147484363"/>
              <ac:spMk id="5"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816258540" sldId="2147484363"/>
              <ac:spMk id="14" creationId="{7739A81D-20E5-417D-BD4E-369C17CA4747}"/>
            </ac:spMkLst>
          </pc:spChg>
          <pc:spChg chg="mod">
            <ac:chgData name="Szabo, Corinne" userId="5f91d2e2-9041-4610-ba2d-7466ed1f64a1" providerId="ADAL" clId="{F9DC8332-650A-4F6E-AD93-DF41712C7C1D}" dt="2024-07-22T17:31:28.292" v="20"/>
            <ac:spMkLst>
              <pc:docMk/>
              <pc:sldMasterMk cId="3438207253" sldId="2147483868"/>
              <pc:sldLayoutMk cId="816258540" sldId="2147484363"/>
              <ac:spMk id="20" creationId="{DB4E34FA-C623-4839-9B92-4D9DF6EC507F}"/>
            </ac:spMkLst>
          </pc:spChg>
          <pc:spChg chg="mod">
            <ac:chgData name="Szabo, Corinne" userId="5f91d2e2-9041-4610-ba2d-7466ed1f64a1" providerId="ADAL" clId="{F9DC8332-650A-4F6E-AD93-DF41712C7C1D}" dt="2024-07-22T17:31:28.292" v="20"/>
            <ac:spMkLst>
              <pc:docMk/>
              <pc:sldMasterMk cId="3438207253" sldId="2147483868"/>
              <pc:sldLayoutMk cId="816258540" sldId="2147484363"/>
              <ac:spMk id="41" creationId="{FBE85E36-38D6-4DDE-BD74-8C716E3CFD86}"/>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3400139684" sldId="2147484364"/>
          </pc:sldLayoutMkLst>
          <pc:spChg chg="mod">
            <ac:chgData name="Szabo, Corinne" userId="5f91d2e2-9041-4610-ba2d-7466ed1f64a1" providerId="ADAL" clId="{F9DC8332-650A-4F6E-AD93-DF41712C7C1D}" dt="2024-07-22T17:31:28.292" v="20"/>
            <ac:spMkLst>
              <pc:docMk/>
              <pc:sldMasterMk cId="3438207253" sldId="2147483868"/>
              <pc:sldLayoutMk cId="3400139684" sldId="2147484364"/>
              <ac:spMk id="5"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6"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9" creationId="{A6EC4B31-2DFA-4559-AB10-E11976047660}"/>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11" creationId="{F962AB37-50EC-4503-8AA2-809CFE862FEE}"/>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12" creationId="{C5B3E9C5-B899-4D3C-A9B0-27E24942FE71}"/>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13" creationId="{9669F93A-B977-4DFE-A6C8-3986F7EE0456}"/>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14" creationId="{F97CD7AE-C149-499A-8E8B-78FBC9FF8C8C}"/>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15" creationId="{4F3BCA7B-0501-40F7-B99E-23F44866A3C3}"/>
            </ac:spMkLst>
          </pc:spChg>
          <pc:spChg chg="mod">
            <ac:chgData name="Szabo, Corinne" userId="5f91d2e2-9041-4610-ba2d-7466ed1f64a1" providerId="ADAL" clId="{F9DC8332-650A-4F6E-AD93-DF41712C7C1D}" dt="2024-07-22T17:31:28.292" v="20"/>
            <ac:spMkLst>
              <pc:docMk/>
              <pc:sldMasterMk cId="3438207253" sldId="2147483868"/>
              <pc:sldLayoutMk cId="3400139684" sldId="2147484364"/>
              <ac:spMk id="16" creationId="{D477FE8C-6A1A-4D84-9733-FEB24C12420F}"/>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1108978252" sldId="2147484365"/>
          </pc:sldLayoutMkLst>
          <pc:spChg chg="mod">
            <ac:chgData name="Szabo, Corinne" userId="5f91d2e2-9041-4610-ba2d-7466ed1f64a1" providerId="ADAL" clId="{F9DC8332-650A-4F6E-AD93-DF41712C7C1D}" dt="2024-07-22T17:31:28.292" v="20"/>
            <ac:spMkLst>
              <pc:docMk/>
              <pc:sldMasterMk cId="3438207253" sldId="2147483868"/>
              <pc:sldLayoutMk cId="1108978252" sldId="2147484365"/>
              <ac:spMk id="5"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6"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9" creationId="{A6EC4B31-2DFA-4559-AB10-E11976047660}"/>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11" creationId="{F962AB37-50EC-4503-8AA2-809CFE862FEE}"/>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17" creationId="{C6198300-891C-4CDF-B7FC-448A45252848}"/>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18" creationId="{044CA1F3-5EDB-4E31-B491-6F2F9388C87B}"/>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19" creationId="{469D2F4C-18C8-4DB6-948C-09F2A239761D}"/>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20" creationId="{679BFE12-15D5-4E36-9C80-2F8D4D1262DF}"/>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21" creationId="{46C952A7-F50A-4EEE-A0D1-E4A89AA3FFBE}"/>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22" creationId="{593194FC-AC00-46FC-BBB7-384D720B9AAB}"/>
            </ac:spMkLst>
          </pc:spChg>
          <pc:spChg chg="mod">
            <ac:chgData name="Szabo, Corinne" userId="5f91d2e2-9041-4610-ba2d-7466ed1f64a1" providerId="ADAL" clId="{F9DC8332-650A-4F6E-AD93-DF41712C7C1D}" dt="2024-07-22T17:31:28.292" v="20"/>
            <ac:spMkLst>
              <pc:docMk/>
              <pc:sldMasterMk cId="3438207253" sldId="2147483868"/>
              <pc:sldLayoutMk cId="1108978252" sldId="2147484365"/>
              <ac:spMk id="23" creationId="{59B35118-AE21-4B33-8819-E1D2AC34F08A}"/>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957188182" sldId="2147484366"/>
          </pc:sldLayoutMkLst>
          <pc:spChg chg="mod">
            <ac:chgData name="Szabo, Corinne" userId="5f91d2e2-9041-4610-ba2d-7466ed1f64a1" providerId="ADAL" clId="{F9DC8332-650A-4F6E-AD93-DF41712C7C1D}" dt="2024-07-22T17:31:28.292" v="20"/>
            <ac:spMkLst>
              <pc:docMk/>
              <pc:sldMasterMk cId="3438207253" sldId="2147483868"/>
              <pc:sldLayoutMk cId="957188182" sldId="2147484366"/>
              <ac:spMk id="2" creationId="{78F6AAB6-F2E4-4C18-A86D-448422BA4865}"/>
            </ac:spMkLst>
          </pc:spChg>
          <pc:spChg chg="mod">
            <ac:chgData name="Szabo, Corinne" userId="5f91d2e2-9041-4610-ba2d-7466ed1f64a1" providerId="ADAL" clId="{F9DC8332-650A-4F6E-AD93-DF41712C7C1D}" dt="2024-07-22T17:31:28.292" v="20"/>
            <ac:spMkLst>
              <pc:docMk/>
              <pc:sldMasterMk cId="3438207253" sldId="2147483868"/>
              <pc:sldLayoutMk cId="957188182" sldId="2147484366"/>
              <ac:spMk id="6"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957188182" sldId="2147484366"/>
              <ac:spMk id="9" creationId="{7E363F8D-EEA3-433B-A76A-F8A04A2C93FF}"/>
            </ac:spMkLst>
          </pc:spChg>
          <pc:spChg chg="mod">
            <ac:chgData name="Szabo, Corinne" userId="5f91d2e2-9041-4610-ba2d-7466ed1f64a1" providerId="ADAL" clId="{F9DC8332-650A-4F6E-AD93-DF41712C7C1D}" dt="2024-07-22T17:31:28.292" v="20"/>
            <ac:spMkLst>
              <pc:docMk/>
              <pc:sldMasterMk cId="3438207253" sldId="2147483868"/>
              <pc:sldLayoutMk cId="957188182" sldId="2147484366"/>
              <ac:spMk id="10" creationId="{F11E67DA-00A0-4F1A-B898-BB338E70DE2A}"/>
            </ac:spMkLst>
          </pc:spChg>
          <pc:spChg chg="mod">
            <ac:chgData name="Szabo, Corinne" userId="5f91d2e2-9041-4610-ba2d-7466ed1f64a1" providerId="ADAL" clId="{F9DC8332-650A-4F6E-AD93-DF41712C7C1D}" dt="2024-07-22T17:31:28.292" v="20"/>
            <ac:spMkLst>
              <pc:docMk/>
              <pc:sldMasterMk cId="3438207253" sldId="2147483868"/>
              <pc:sldLayoutMk cId="957188182" sldId="2147484366"/>
              <ac:spMk id="25" creationId="{D61D2F69-37BB-47BA-8265-CA2F040D7CF4}"/>
            </ac:spMkLst>
          </pc:spChg>
          <pc:spChg chg="mod">
            <ac:chgData name="Szabo, Corinne" userId="5f91d2e2-9041-4610-ba2d-7466ed1f64a1" providerId="ADAL" clId="{F9DC8332-650A-4F6E-AD93-DF41712C7C1D}" dt="2024-07-22T17:31:28.292" v="20"/>
            <ac:spMkLst>
              <pc:docMk/>
              <pc:sldMasterMk cId="3438207253" sldId="2147483868"/>
              <pc:sldLayoutMk cId="957188182" sldId="2147484366"/>
              <ac:spMk id="27" creationId="{C16C3C58-3A02-483B-8729-F6F5F6328C4F}"/>
            </ac:spMkLst>
          </pc:spChg>
          <pc:spChg chg="mod">
            <ac:chgData name="Szabo, Corinne" userId="5f91d2e2-9041-4610-ba2d-7466ed1f64a1" providerId="ADAL" clId="{F9DC8332-650A-4F6E-AD93-DF41712C7C1D}" dt="2024-07-22T17:31:28.292" v="20"/>
            <ac:spMkLst>
              <pc:docMk/>
              <pc:sldMasterMk cId="3438207253" sldId="2147483868"/>
              <pc:sldLayoutMk cId="957188182" sldId="2147484366"/>
              <ac:spMk id="28" creationId="{F1EE69F4-857D-4A73-8B71-041F161F562B}"/>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1825512408" sldId="2147484367"/>
          </pc:sldLayoutMkLst>
          <pc:spChg chg="mod">
            <ac:chgData name="Szabo, Corinne" userId="5f91d2e2-9041-4610-ba2d-7466ed1f64a1" providerId="ADAL" clId="{F9DC8332-650A-4F6E-AD93-DF41712C7C1D}" dt="2024-07-22T17:31:28.292" v="20"/>
            <ac:spMkLst>
              <pc:docMk/>
              <pc:sldMasterMk cId="3438207253" sldId="2147483868"/>
              <pc:sldLayoutMk cId="1825512408" sldId="2147484367"/>
              <ac:spMk id="6"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1825512408" sldId="2147484367"/>
              <ac:spMk id="9" creationId="{7E363F8D-EEA3-433B-A76A-F8A04A2C93FF}"/>
            </ac:spMkLst>
          </pc:spChg>
          <pc:spChg chg="mod">
            <ac:chgData name="Szabo, Corinne" userId="5f91d2e2-9041-4610-ba2d-7466ed1f64a1" providerId="ADAL" clId="{F9DC8332-650A-4F6E-AD93-DF41712C7C1D}" dt="2024-07-22T17:31:28.292" v="20"/>
            <ac:spMkLst>
              <pc:docMk/>
              <pc:sldMasterMk cId="3438207253" sldId="2147483868"/>
              <pc:sldLayoutMk cId="1825512408" sldId="2147484367"/>
              <ac:spMk id="10" creationId="{F11E67DA-00A0-4F1A-B898-BB338E70DE2A}"/>
            </ac:spMkLst>
          </pc:spChg>
          <pc:spChg chg="mod">
            <ac:chgData name="Szabo, Corinne" userId="5f91d2e2-9041-4610-ba2d-7466ed1f64a1" providerId="ADAL" clId="{F9DC8332-650A-4F6E-AD93-DF41712C7C1D}" dt="2024-07-22T17:31:28.292" v="20"/>
            <ac:spMkLst>
              <pc:docMk/>
              <pc:sldMasterMk cId="3438207253" sldId="2147483868"/>
              <pc:sldLayoutMk cId="1825512408" sldId="2147484367"/>
              <ac:spMk id="13" creationId="{4958C054-839F-4DE0-821D-EA7EB605C25A}"/>
            </ac:spMkLst>
          </pc:spChg>
          <pc:spChg chg="mod">
            <ac:chgData name="Szabo, Corinne" userId="5f91d2e2-9041-4610-ba2d-7466ed1f64a1" providerId="ADAL" clId="{F9DC8332-650A-4F6E-AD93-DF41712C7C1D}" dt="2024-07-22T17:31:28.292" v="20"/>
            <ac:spMkLst>
              <pc:docMk/>
              <pc:sldMasterMk cId="3438207253" sldId="2147483868"/>
              <pc:sldLayoutMk cId="1825512408" sldId="2147484367"/>
              <ac:spMk id="26" creationId="{9E2829E9-8450-4387-8829-2806A9CFA66C}"/>
            </ac:spMkLst>
          </pc:spChg>
          <pc:spChg chg="mod">
            <ac:chgData name="Szabo, Corinne" userId="5f91d2e2-9041-4610-ba2d-7466ed1f64a1" providerId="ADAL" clId="{F9DC8332-650A-4F6E-AD93-DF41712C7C1D}" dt="2024-07-22T17:31:28.292" v="20"/>
            <ac:spMkLst>
              <pc:docMk/>
              <pc:sldMasterMk cId="3438207253" sldId="2147483868"/>
              <pc:sldLayoutMk cId="1825512408" sldId="2147484367"/>
              <ac:spMk id="27" creationId="{C16C3C58-3A02-483B-8729-F6F5F6328C4F}"/>
            </ac:spMkLst>
          </pc:spChg>
          <pc:spChg chg="mod">
            <ac:chgData name="Szabo, Corinne" userId="5f91d2e2-9041-4610-ba2d-7466ed1f64a1" providerId="ADAL" clId="{F9DC8332-650A-4F6E-AD93-DF41712C7C1D}" dt="2024-07-22T17:31:28.292" v="20"/>
            <ac:spMkLst>
              <pc:docMk/>
              <pc:sldMasterMk cId="3438207253" sldId="2147483868"/>
              <pc:sldLayoutMk cId="1825512408" sldId="2147484367"/>
              <ac:spMk id="28" creationId="{F1EE69F4-857D-4A73-8B71-041F161F562B}"/>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653947974" sldId="2147484368"/>
          </pc:sldLayoutMkLst>
          <pc:spChg chg="mod">
            <ac:chgData name="Szabo, Corinne" userId="5f91d2e2-9041-4610-ba2d-7466ed1f64a1" providerId="ADAL" clId="{F9DC8332-650A-4F6E-AD93-DF41712C7C1D}" dt="2024-07-22T17:31:28.292" v="20"/>
            <ac:spMkLst>
              <pc:docMk/>
              <pc:sldMasterMk cId="3438207253" sldId="2147483868"/>
              <pc:sldLayoutMk cId="653947974" sldId="2147484368"/>
              <ac:spMk id="6"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653947974" sldId="2147484368"/>
              <ac:spMk id="9" creationId="{7E363F8D-EEA3-433B-A76A-F8A04A2C93FF}"/>
            </ac:spMkLst>
          </pc:spChg>
          <pc:spChg chg="mod">
            <ac:chgData name="Szabo, Corinne" userId="5f91d2e2-9041-4610-ba2d-7466ed1f64a1" providerId="ADAL" clId="{F9DC8332-650A-4F6E-AD93-DF41712C7C1D}" dt="2024-07-22T17:31:28.292" v="20"/>
            <ac:spMkLst>
              <pc:docMk/>
              <pc:sldMasterMk cId="3438207253" sldId="2147483868"/>
              <pc:sldLayoutMk cId="653947974" sldId="2147484368"/>
              <ac:spMk id="10" creationId="{F11E67DA-00A0-4F1A-B898-BB338E70DE2A}"/>
            </ac:spMkLst>
          </pc:spChg>
          <pc:spChg chg="mod">
            <ac:chgData name="Szabo, Corinne" userId="5f91d2e2-9041-4610-ba2d-7466ed1f64a1" providerId="ADAL" clId="{F9DC8332-650A-4F6E-AD93-DF41712C7C1D}" dt="2024-07-22T17:31:28.292" v="20"/>
            <ac:spMkLst>
              <pc:docMk/>
              <pc:sldMasterMk cId="3438207253" sldId="2147483868"/>
              <pc:sldLayoutMk cId="653947974" sldId="2147484368"/>
              <ac:spMk id="13" creationId="{4958C054-839F-4DE0-821D-EA7EB605C25A}"/>
            </ac:spMkLst>
          </pc:spChg>
          <pc:spChg chg="mod">
            <ac:chgData name="Szabo, Corinne" userId="5f91d2e2-9041-4610-ba2d-7466ed1f64a1" providerId="ADAL" clId="{F9DC8332-650A-4F6E-AD93-DF41712C7C1D}" dt="2024-07-22T17:31:28.292" v="20"/>
            <ac:spMkLst>
              <pc:docMk/>
              <pc:sldMasterMk cId="3438207253" sldId="2147483868"/>
              <pc:sldLayoutMk cId="653947974" sldId="2147484368"/>
              <ac:spMk id="27" creationId="{C16C3C58-3A02-483B-8729-F6F5F6328C4F}"/>
            </ac:spMkLst>
          </pc:spChg>
          <pc:spChg chg="mod">
            <ac:chgData name="Szabo, Corinne" userId="5f91d2e2-9041-4610-ba2d-7466ed1f64a1" providerId="ADAL" clId="{F9DC8332-650A-4F6E-AD93-DF41712C7C1D}" dt="2024-07-22T17:31:28.292" v="20"/>
            <ac:spMkLst>
              <pc:docMk/>
              <pc:sldMasterMk cId="3438207253" sldId="2147483868"/>
              <pc:sldLayoutMk cId="653947974" sldId="2147484368"/>
              <ac:spMk id="28" creationId="{F1EE69F4-857D-4A73-8B71-041F161F562B}"/>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756005314" sldId="2147484369"/>
          </pc:sldLayoutMkLst>
          <pc:spChg chg="mod">
            <ac:chgData name="Szabo, Corinne" userId="5f91d2e2-9041-4610-ba2d-7466ed1f64a1" providerId="ADAL" clId="{F9DC8332-650A-4F6E-AD93-DF41712C7C1D}" dt="2024-07-22T17:31:28.292" v="20"/>
            <ac:spMkLst>
              <pc:docMk/>
              <pc:sldMasterMk cId="3438207253" sldId="2147483868"/>
              <pc:sldLayoutMk cId="2756005314" sldId="2147484369"/>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7" creationId="{A4EC7FDF-598C-4F07-B51E-EA09316920A7}"/>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9" creationId="{00917691-819C-42A3-84E7-BB4918045702}"/>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0" creationId="{506018C7-23AA-4F16-9434-3E8994F999B4}"/>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1" creationId="{FD774C5B-6035-4185-9BDE-DDB15B8A7A5F}"/>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2" creationId="{A5E543C6-1776-417C-A381-3248B3DE5B11}"/>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4" creationId="{9055D76C-39DA-42A4-AF4C-BABEB32966EB}"/>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5" creationId="{25C1C280-CBCB-48A2-8E74-916061520FDF}"/>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2756005314" sldId="2147484369"/>
              <ac:spMk id="17" creationId="{86553560-FC2D-4819-8FE6-AD3C932F8997}"/>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751939619" sldId="2147484370"/>
          </pc:sldLayoutMkLst>
          <pc:spChg chg="mod">
            <ac:chgData name="Szabo, Corinne" userId="5f91d2e2-9041-4610-ba2d-7466ed1f64a1" providerId="ADAL" clId="{F9DC8332-650A-4F6E-AD93-DF41712C7C1D}" dt="2024-07-22T17:31:28.292" v="20"/>
            <ac:spMkLst>
              <pc:docMk/>
              <pc:sldMasterMk cId="3438207253" sldId="2147483868"/>
              <pc:sldLayoutMk cId="2751939619" sldId="2147484370"/>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11" creationId="{FD774C5B-6035-4185-9BDE-DDB15B8A7A5F}"/>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14" creationId="{9055D76C-39DA-42A4-AF4C-BABEB32966EB}"/>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17" creationId="{86553560-FC2D-4819-8FE6-AD3C932F8997}"/>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28" creationId="{B2E427D2-44B7-4231-BE08-6119713FF637}"/>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29" creationId="{BAF961C0-A232-49BE-9E8F-69823A55AFD9}"/>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30" creationId="{9158BA98-678D-4CCB-8811-531B29A2FB54}"/>
            </ac:spMkLst>
          </pc:spChg>
          <pc:spChg chg="mod">
            <ac:chgData name="Szabo, Corinne" userId="5f91d2e2-9041-4610-ba2d-7466ed1f64a1" providerId="ADAL" clId="{F9DC8332-650A-4F6E-AD93-DF41712C7C1D}" dt="2024-07-22T17:31:28.292" v="20"/>
            <ac:spMkLst>
              <pc:docMk/>
              <pc:sldMasterMk cId="3438207253" sldId="2147483868"/>
              <pc:sldLayoutMk cId="2751939619" sldId="2147484370"/>
              <ac:spMk id="31" creationId="{603F57E9-CF14-4327-BAEB-ADBCA7C1E991}"/>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905890854" sldId="2147484371"/>
          </pc:sldLayoutMkLst>
          <pc:spChg chg="mod">
            <ac:chgData name="Szabo, Corinne" userId="5f91d2e2-9041-4610-ba2d-7466ed1f64a1" providerId="ADAL" clId="{F9DC8332-650A-4F6E-AD93-DF41712C7C1D}" dt="2024-07-22T17:31:28.292" v="20"/>
            <ac:spMkLst>
              <pc:docMk/>
              <pc:sldMasterMk cId="3438207253" sldId="2147483868"/>
              <pc:sldLayoutMk cId="2905890854" sldId="2147484371"/>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905890854" sldId="2147484371"/>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905890854" sldId="2147484371"/>
              <ac:spMk id="7" creationId="{A4EC7FDF-598C-4F07-B51E-EA09316920A7}"/>
            </ac:spMkLst>
          </pc:spChg>
          <pc:spChg chg="mod">
            <ac:chgData name="Szabo, Corinne" userId="5f91d2e2-9041-4610-ba2d-7466ed1f64a1" providerId="ADAL" clId="{F9DC8332-650A-4F6E-AD93-DF41712C7C1D}" dt="2024-07-22T17:31:28.292" v="20"/>
            <ac:spMkLst>
              <pc:docMk/>
              <pc:sldMasterMk cId="3438207253" sldId="2147483868"/>
              <pc:sldLayoutMk cId="2905890854" sldId="2147484371"/>
              <ac:spMk id="14" creationId="{9055D76C-39DA-42A4-AF4C-BABEB32966EB}"/>
            </ac:spMkLst>
          </pc:spChg>
          <pc:spChg chg="mod">
            <ac:chgData name="Szabo, Corinne" userId="5f91d2e2-9041-4610-ba2d-7466ed1f64a1" providerId="ADAL" clId="{F9DC8332-650A-4F6E-AD93-DF41712C7C1D}" dt="2024-07-22T17:31:28.292" v="20"/>
            <ac:spMkLst>
              <pc:docMk/>
              <pc:sldMasterMk cId="3438207253" sldId="2147483868"/>
              <pc:sldLayoutMk cId="2905890854" sldId="2147484371"/>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2905890854" sldId="2147484371"/>
              <ac:spMk id="17" creationId="{86553560-FC2D-4819-8FE6-AD3C932F8997}"/>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063042955" sldId="2147484372"/>
          </pc:sldLayoutMkLst>
          <pc:spChg chg="mod">
            <ac:chgData name="Szabo, Corinne" userId="5f91d2e2-9041-4610-ba2d-7466ed1f64a1" providerId="ADAL" clId="{F9DC8332-650A-4F6E-AD93-DF41712C7C1D}" dt="2024-07-22T17:31:28.292" v="20"/>
            <ac:spMkLst>
              <pc:docMk/>
              <pc:sldMasterMk cId="3438207253" sldId="2147483868"/>
              <pc:sldLayoutMk cId="2063042955" sldId="2147484372"/>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063042955" sldId="2147484372"/>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063042955" sldId="2147484372"/>
              <ac:spMk id="7" creationId="{A4EC7FDF-598C-4F07-B51E-EA09316920A7}"/>
            </ac:spMkLst>
          </pc:spChg>
          <pc:spChg chg="mod">
            <ac:chgData name="Szabo, Corinne" userId="5f91d2e2-9041-4610-ba2d-7466ed1f64a1" providerId="ADAL" clId="{F9DC8332-650A-4F6E-AD93-DF41712C7C1D}" dt="2024-07-22T17:31:28.292" v="20"/>
            <ac:spMkLst>
              <pc:docMk/>
              <pc:sldMasterMk cId="3438207253" sldId="2147483868"/>
              <pc:sldLayoutMk cId="2063042955" sldId="2147484372"/>
              <ac:spMk id="14" creationId="{9055D76C-39DA-42A4-AF4C-BABEB32966EB}"/>
            </ac:spMkLst>
          </pc:spChg>
          <pc:spChg chg="mod">
            <ac:chgData name="Szabo, Corinne" userId="5f91d2e2-9041-4610-ba2d-7466ed1f64a1" providerId="ADAL" clId="{F9DC8332-650A-4F6E-AD93-DF41712C7C1D}" dt="2024-07-22T17:31:28.292" v="20"/>
            <ac:spMkLst>
              <pc:docMk/>
              <pc:sldMasterMk cId="3438207253" sldId="2147483868"/>
              <pc:sldLayoutMk cId="2063042955" sldId="2147484372"/>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2063042955" sldId="2147484372"/>
              <ac:spMk id="17" creationId="{86553560-FC2D-4819-8FE6-AD3C932F8997}"/>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540150705" sldId="2147484373"/>
          </pc:sldLayoutMkLst>
          <pc:spChg chg="mod">
            <ac:chgData name="Szabo, Corinne" userId="5f91d2e2-9041-4610-ba2d-7466ed1f64a1" providerId="ADAL" clId="{F9DC8332-650A-4F6E-AD93-DF41712C7C1D}" dt="2024-07-22T17:31:28.292" v="20"/>
            <ac:spMkLst>
              <pc:docMk/>
              <pc:sldMasterMk cId="3438207253" sldId="2147483868"/>
              <pc:sldLayoutMk cId="540150705" sldId="2147484373"/>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540150705" sldId="2147484373"/>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540150705" sldId="2147484373"/>
              <ac:spMk id="8" creationId="{8487CAE0-18C9-4499-B74E-BEEC84738C97}"/>
            </ac:spMkLst>
          </pc:spChg>
          <pc:spChg chg="mod">
            <ac:chgData name="Szabo, Corinne" userId="5f91d2e2-9041-4610-ba2d-7466ed1f64a1" providerId="ADAL" clId="{F9DC8332-650A-4F6E-AD93-DF41712C7C1D}" dt="2024-07-22T17:31:28.292" v="20"/>
            <ac:spMkLst>
              <pc:docMk/>
              <pc:sldMasterMk cId="3438207253" sldId="2147483868"/>
              <pc:sldLayoutMk cId="540150705" sldId="2147484373"/>
              <ac:spMk id="14" creationId="{9055D76C-39DA-42A4-AF4C-BABEB32966EB}"/>
            </ac:spMkLst>
          </pc:spChg>
          <pc:spChg chg="mod">
            <ac:chgData name="Szabo, Corinne" userId="5f91d2e2-9041-4610-ba2d-7466ed1f64a1" providerId="ADAL" clId="{F9DC8332-650A-4F6E-AD93-DF41712C7C1D}" dt="2024-07-22T17:31:28.292" v="20"/>
            <ac:spMkLst>
              <pc:docMk/>
              <pc:sldMasterMk cId="3438207253" sldId="2147483868"/>
              <pc:sldLayoutMk cId="540150705" sldId="2147484373"/>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540150705" sldId="2147484373"/>
              <ac:spMk id="17" creationId="{86553560-FC2D-4819-8FE6-AD3C932F8997}"/>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887665897" sldId="2147484374"/>
          </pc:sldLayoutMkLst>
          <pc:spChg chg="mod">
            <ac:chgData name="Szabo, Corinne" userId="5f91d2e2-9041-4610-ba2d-7466ed1f64a1" providerId="ADAL" clId="{F9DC8332-650A-4F6E-AD93-DF41712C7C1D}" dt="2024-07-22T17:31:28.292" v="20"/>
            <ac:spMkLst>
              <pc:docMk/>
              <pc:sldMasterMk cId="3438207253" sldId="2147483868"/>
              <pc:sldLayoutMk cId="887665897" sldId="2147484374"/>
              <ac:spMk id="3" creationId="{CCD3B5E4-F8D8-4E56-8B0D-0ADE716A272A}"/>
            </ac:spMkLst>
          </pc:spChg>
          <pc:spChg chg="mod">
            <ac:chgData name="Szabo, Corinne" userId="5f91d2e2-9041-4610-ba2d-7466ed1f64a1" providerId="ADAL" clId="{F9DC8332-650A-4F6E-AD93-DF41712C7C1D}" dt="2024-07-22T17:31:28.292" v="20"/>
            <ac:spMkLst>
              <pc:docMk/>
              <pc:sldMasterMk cId="3438207253" sldId="2147483868"/>
              <pc:sldLayoutMk cId="887665897" sldId="2147484374"/>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887665897" sldId="2147484374"/>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887665897" sldId="2147484374"/>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887665897" sldId="2147484374"/>
              <ac:spMk id="17" creationId="{86553560-FC2D-4819-8FE6-AD3C932F8997}"/>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956318353" sldId="2147484375"/>
          </pc:sldLayoutMkLst>
          <pc:spChg chg="mod">
            <ac:chgData name="Szabo, Corinne" userId="5f91d2e2-9041-4610-ba2d-7466ed1f64a1" providerId="ADAL" clId="{F9DC8332-650A-4F6E-AD93-DF41712C7C1D}" dt="2024-07-22T17:31:28.292" v="20"/>
            <ac:spMkLst>
              <pc:docMk/>
              <pc:sldMasterMk cId="3438207253" sldId="2147483868"/>
              <pc:sldLayoutMk cId="956318353" sldId="2147484375"/>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956318353" sldId="2147484375"/>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956318353" sldId="2147484375"/>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956318353" sldId="2147484375"/>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956318353" sldId="2147484375"/>
              <ac:spMk id="7" creationId="{A4EC7FDF-598C-4F07-B51E-EA09316920A7}"/>
            </ac:spMkLst>
          </pc:spChg>
          <pc:spChg chg="mod">
            <ac:chgData name="Szabo, Corinne" userId="5f91d2e2-9041-4610-ba2d-7466ed1f64a1" providerId="ADAL" clId="{F9DC8332-650A-4F6E-AD93-DF41712C7C1D}" dt="2024-07-22T17:31:28.292" v="20"/>
            <ac:spMkLst>
              <pc:docMk/>
              <pc:sldMasterMk cId="3438207253" sldId="2147483868"/>
              <pc:sldLayoutMk cId="956318353" sldId="2147484375"/>
              <ac:spMk id="16" creationId="{F39A3DC5-89B3-42C4-A8B4-C3CFDDCE2DD0}"/>
            </ac:spMkLst>
          </pc:spChg>
          <pc:spChg chg="mod">
            <ac:chgData name="Szabo, Corinne" userId="5f91d2e2-9041-4610-ba2d-7466ed1f64a1" providerId="ADAL" clId="{F9DC8332-650A-4F6E-AD93-DF41712C7C1D}" dt="2024-07-22T17:31:28.292" v="20"/>
            <ac:spMkLst>
              <pc:docMk/>
              <pc:sldMasterMk cId="3438207253" sldId="2147483868"/>
              <pc:sldLayoutMk cId="956318353" sldId="2147484375"/>
              <ac:spMk id="17" creationId="{67C29AE4-5AED-4CB2-BDAA-6B2B33C46C2A}"/>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454306711" sldId="2147484376"/>
          </pc:sldLayoutMkLst>
          <pc:spChg chg="mod">
            <ac:chgData name="Szabo, Corinne" userId="5f91d2e2-9041-4610-ba2d-7466ed1f64a1" providerId="ADAL" clId="{F9DC8332-650A-4F6E-AD93-DF41712C7C1D}" dt="2024-07-22T17:31:28.292" v="20"/>
            <ac:spMkLst>
              <pc:docMk/>
              <pc:sldMasterMk cId="3438207253" sldId="2147483868"/>
              <pc:sldLayoutMk cId="2454306711" sldId="2147484376"/>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9" creationId="{00917691-819C-42A3-84E7-BB4918045702}"/>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10" creationId="{506018C7-23AA-4F16-9434-3E8994F999B4}"/>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17" creationId="{86553560-FC2D-4819-8FE6-AD3C932F8997}"/>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21" creationId="{34371AC1-D0FC-4409-8108-A028C655B206}"/>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22" creationId="{A0339B73-3DAE-4696-B2C4-AB2C296FFFBC}"/>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24" creationId="{179A2654-FFD1-4A53-A8A9-7AC651369696}"/>
            </ac:spMkLst>
          </pc:spChg>
          <pc:spChg chg="mod">
            <ac:chgData name="Szabo, Corinne" userId="5f91d2e2-9041-4610-ba2d-7466ed1f64a1" providerId="ADAL" clId="{F9DC8332-650A-4F6E-AD93-DF41712C7C1D}" dt="2024-07-22T17:31:28.292" v="20"/>
            <ac:spMkLst>
              <pc:docMk/>
              <pc:sldMasterMk cId="3438207253" sldId="2147483868"/>
              <pc:sldLayoutMk cId="2454306711" sldId="2147484376"/>
              <ac:spMk id="25" creationId="{7F77922E-300B-4EC9-8500-DD45006C9BFD}"/>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1043834517" sldId="2147484377"/>
          </pc:sldLayoutMkLst>
          <pc:spChg chg="mod">
            <ac:chgData name="Szabo, Corinne" userId="5f91d2e2-9041-4610-ba2d-7466ed1f64a1" providerId="ADAL" clId="{F9DC8332-650A-4F6E-AD93-DF41712C7C1D}" dt="2024-07-22T17:31:28.292" v="20"/>
            <ac:spMkLst>
              <pc:docMk/>
              <pc:sldMasterMk cId="3438207253" sldId="2147483868"/>
              <pc:sldLayoutMk cId="1043834517" sldId="2147484377"/>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9" creationId="{00917691-819C-42A3-84E7-BB4918045702}"/>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10" creationId="{506018C7-23AA-4F16-9434-3E8994F999B4}"/>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16" creationId="{18F6D520-00DF-4ED4-B209-E7BFD6156BD8}"/>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17" creationId="{86553560-FC2D-4819-8FE6-AD3C932F8997}"/>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18" creationId="{A147DE8D-8891-46EE-8AB0-11512AF1D40D}"/>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19" creationId="{32BF79EA-A7C6-4F74-BB66-78E7F6B5C12D}"/>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23" creationId="{8B35CDE5-EFFA-4FB5-9972-25A607658134}"/>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26" creationId="{7D204983-8312-4BC8-89D6-158DF6D0CE87}"/>
            </ac:spMkLst>
          </pc:spChg>
          <pc:spChg chg="mod">
            <ac:chgData name="Szabo, Corinne" userId="5f91d2e2-9041-4610-ba2d-7466ed1f64a1" providerId="ADAL" clId="{F9DC8332-650A-4F6E-AD93-DF41712C7C1D}" dt="2024-07-22T17:31:28.292" v="20"/>
            <ac:spMkLst>
              <pc:docMk/>
              <pc:sldMasterMk cId="3438207253" sldId="2147483868"/>
              <pc:sldLayoutMk cId="1043834517" sldId="2147484377"/>
              <ac:spMk id="27" creationId="{8E08D1D0-00B7-4E86-BCA0-5B0B59E3B89C}"/>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1957211393" sldId="2147484378"/>
          </pc:sldLayoutMkLst>
          <pc:spChg chg="mod">
            <ac:chgData name="Szabo, Corinne" userId="5f91d2e2-9041-4610-ba2d-7466ed1f64a1" providerId="ADAL" clId="{F9DC8332-650A-4F6E-AD93-DF41712C7C1D}" dt="2024-07-22T17:31:28.292" v="20"/>
            <ac:spMkLst>
              <pc:docMk/>
              <pc:sldMasterMk cId="3438207253" sldId="2147483868"/>
              <pc:sldLayoutMk cId="1957211393" sldId="2147484378"/>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1957211393" sldId="2147484378"/>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1957211393" sldId="2147484378"/>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1957211393" sldId="2147484378"/>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1957211393" sldId="2147484378"/>
              <ac:spMk id="16" creationId="{F39A3DC5-89B3-42C4-A8B4-C3CFDDCE2DD0}"/>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3171497602" sldId="2147484379"/>
          </pc:sldLayoutMkLst>
          <pc:spChg chg="mod">
            <ac:chgData name="Szabo, Corinne" userId="5f91d2e2-9041-4610-ba2d-7466ed1f64a1" providerId="ADAL" clId="{F9DC8332-650A-4F6E-AD93-DF41712C7C1D}" dt="2024-07-22T17:31:28.292" v="20"/>
            <ac:spMkLst>
              <pc:docMk/>
              <pc:sldMasterMk cId="3438207253" sldId="2147483868"/>
              <pc:sldLayoutMk cId="3171497602" sldId="2147484379"/>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12" creationId="{C4EF0926-67AF-4DB0-99F3-9330034ADB73}"/>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13" creationId="{862C56E4-94D2-408E-838A-EB8784194808}"/>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14" creationId="{0796A941-953B-44B8-A773-4DBF7A300DCF}"/>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15" creationId="{E317AE3B-1B63-4F2A-9579-E46A9FB55127}"/>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16" creationId="{F39A3DC5-89B3-42C4-A8B4-C3CFDDCE2DD0}"/>
            </ac:spMkLst>
          </pc:spChg>
          <pc:spChg chg="mod">
            <ac:chgData name="Szabo, Corinne" userId="5f91d2e2-9041-4610-ba2d-7466ed1f64a1" providerId="ADAL" clId="{F9DC8332-650A-4F6E-AD93-DF41712C7C1D}" dt="2024-07-22T17:31:28.292" v="20"/>
            <ac:spMkLst>
              <pc:docMk/>
              <pc:sldMasterMk cId="3438207253" sldId="2147483868"/>
              <pc:sldLayoutMk cId="3171497602" sldId="2147484379"/>
              <ac:spMk id="17" creationId="{71B39A0B-88D1-44DD-97CA-2C93B4271CAF}"/>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1903097238" sldId="2147484380"/>
          </pc:sldLayoutMkLst>
          <pc:spChg chg="mod">
            <ac:chgData name="Szabo, Corinne" userId="5f91d2e2-9041-4610-ba2d-7466ed1f64a1" providerId="ADAL" clId="{F9DC8332-650A-4F6E-AD93-DF41712C7C1D}" dt="2024-07-22T17:31:28.292" v="20"/>
            <ac:spMkLst>
              <pc:docMk/>
              <pc:sldMasterMk cId="3438207253" sldId="2147483868"/>
              <pc:sldLayoutMk cId="1903097238" sldId="2147484380"/>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14" creationId="{0796A941-953B-44B8-A773-4DBF7A300DCF}"/>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16" creationId="{F39A3DC5-89B3-42C4-A8B4-C3CFDDCE2DD0}"/>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19" creationId="{D4246ADE-C6FF-4585-8C81-CEE798920FBC}"/>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0" creationId="{3FE71BC0-F0B4-40A9-ABB2-F67941299444}"/>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1" creationId="{91A5EA92-E74B-4861-B567-F18BF1540164}"/>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2" creationId="{907E0BA8-FFEA-4FB1-B4C0-01453686F4BF}"/>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3" creationId="{39107FBF-4646-4261-A4D4-FC2D8D20A015}"/>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4" creationId="{EB7DFCB0-3C5C-4020-9EDD-72A2DAC1975B}"/>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5" creationId="{9816E869-0BE9-4065-BBC7-E921D4F6506C}"/>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6" creationId="{4C984B48-2820-4944-B35B-5D17CFC12932}"/>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7" creationId="{43258035-61CF-4F7D-93C8-9E0ED7C5F6B0}"/>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8" creationId="{84BE6DFB-D6E8-4EDF-91CB-26857DBF77D2}"/>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29" creationId="{896BC8CC-D2CE-4E78-B439-3295FDBE20E4}"/>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30" creationId="{4732CA31-1DD1-4983-A5AF-B7D6679D6FD5}"/>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31" creationId="{E001E223-A28C-4D3C-89C6-72C4D507D4BB}"/>
            </ac:spMkLst>
          </pc:spChg>
          <pc:spChg chg="mod">
            <ac:chgData name="Szabo, Corinne" userId="5f91d2e2-9041-4610-ba2d-7466ed1f64a1" providerId="ADAL" clId="{F9DC8332-650A-4F6E-AD93-DF41712C7C1D}" dt="2024-07-22T17:31:28.292" v="20"/>
            <ac:spMkLst>
              <pc:docMk/>
              <pc:sldMasterMk cId="3438207253" sldId="2147483868"/>
              <pc:sldLayoutMk cId="1903097238" sldId="2147484380"/>
              <ac:spMk id="32" creationId="{0B848C28-9BDB-47C1-A075-66DF181C851E}"/>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5970392" sldId="2147484381"/>
          </pc:sldLayoutMkLst>
          <pc:spChg chg="mod">
            <ac:chgData name="Szabo, Corinne" userId="5f91d2e2-9041-4610-ba2d-7466ed1f64a1" providerId="ADAL" clId="{F9DC8332-650A-4F6E-AD93-DF41712C7C1D}" dt="2024-07-22T17:31:28.292" v="20"/>
            <ac:spMkLst>
              <pc:docMk/>
              <pc:sldMasterMk cId="3438207253" sldId="2147483868"/>
              <pc:sldLayoutMk cId="5970392" sldId="2147484381"/>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5970392" sldId="2147484381"/>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5970392" sldId="2147484381"/>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5970392" sldId="2147484381"/>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5970392" sldId="2147484381"/>
              <ac:spMk id="9" creationId="{3035372B-E408-420D-8FFE-5FB47D86DDD2}"/>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1269113939" sldId="2147484382"/>
          </pc:sldLayoutMkLst>
          <pc:spChg chg="mod">
            <ac:chgData name="Szabo, Corinne" userId="5f91d2e2-9041-4610-ba2d-7466ed1f64a1" providerId="ADAL" clId="{F9DC8332-650A-4F6E-AD93-DF41712C7C1D}" dt="2024-07-22T17:31:28.292" v="20"/>
            <ac:spMkLst>
              <pc:docMk/>
              <pc:sldMasterMk cId="3438207253" sldId="2147483868"/>
              <pc:sldLayoutMk cId="1269113939" sldId="2147484382"/>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1269113939" sldId="2147484382"/>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1269113939" sldId="2147484382"/>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1269113939" sldId="2147484382"/>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1269113939" sldId="2147484382"/>
              <ac:spMk id="8" creationId="{1BFFB19F-AC58-4411-B63F-384CD8112D12}"/>
            </ac:spMkLst>
          </pc:spChg>
          <pc:spChg chg="mod">
            <ac:chgData name="Szabo, Corinne" userId="5f91d2e2-9041-4610-ba2d-7466ed1f64a1" providerId="ADAL" clId="{F9DC8332-650A-4F6E-AD93-DF41712C7C1D}" dt="2024-07-22T17:31:28.292" v="20"/>
            <ac:spMkLst>
              <pc:docMk/>
              <pc:sldMasterMk cId="3438207253" sldId="2147483868"/>
              <pc:sldLayoutMk cId="1269113939" sldId="2147484382"/>
              <ac:spMk id="9" creationId="{3035372B-E408-420D-8FFE-5FB47D86DDD2}"/>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3758615292" sldId="2147484383"/>
          </pc:sldLayoutMkLst>
          <pc:spChg chg="mod">
            <ac:chgData name="Szabo, Corinne" userId="5f91d2e2-9041-4610-ba2d-7466ed1f64a1" providerId="ADAL" clId="{F9DC8332-650A-4F6E-AD93-DF41712C7C1D}" dt="2024-07-22T17:31:28.292" v="20"/>
            <ac:spMkLst>
              <pc:docMk/>
              <pc:sldMasterMk cId="3438207253" sldId="2147483868"/>
              <pc:sldLayoutMk cId="3758615292" sldId="2147484383"/>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3758615292" sldId="2147484383"/>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3758615292" sldId="2147484383"/>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3758615292" sldId="2147484383"/>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3758615292" sldId="2147484383"/>
              <ac:spMk id="9" creationId="{3035372B-E408-420D-8FFE-5FB47D86DDD2}"/>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3155537102" sldId="2147484384"/>
          </pc:sldLayoutMkLst>
          <pc:spChg chg="mod">
            <ac:chgData name="Szabo, Corinne" userId="5f91d2e2-9041-4610-ba2d-7466ed1f64a1" providerId="ADAL" clId="{F9DC8332-650A-4F6E-AD93-DF41712C7C1D}" dt="2024-07-22T17:31:28.292" v="20"/>
            <ac:spMkLst>
              <pc:docMk/>
              <pc:sldMasterMk cId="3438207253" sldId="2147483868"/>
              <pc:sldLayoutMk cId="3155537102" sldId="2147484384"/>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9" creationId="{3035372B-E408-420D-8FFE-5FB47D86DDD2}"/>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16" creationId="{C8B2FA79-3DD0-4FA8-90A0-E12843042023}"/>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17" creationId="{632C5D7A-5397-489F-85DC-D510FC2FB9CD}"/>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18" creationId="{9EF16965-8616-4BCC-8FA2-F06C275B591F}"/>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19" creationId="{8EFF5283-0C90-4C63-8A76-2492F32ADED3}"/>
            </ac:spMkLst>
          </pc:spChg>
          <pc:spChg chg="mod">
            <ac:chgData name="Szabo, Corinne" userId="5f91d2e2-9041-4610-ba2d-7466ed1f64a1" providerId="ADAL" clId="{F9DC8332-650A-4F6E-AD93-DF41712C7C1D}" dt="2024-07-22T17:31:28.292" v="20"/>
            <ac:spMkLst>
              <pc:docMk/>
              <pc:sldMasterMk cId="3438207253" sldId="2147483868"/>
              <pc:sldLayoutMk cId="3155537102" sldId="2147484384"/>
              <ac:spMk id="20" creationId="{77E842E8-27EA-44B3-9C76-92DB6EDC1A9F}"/>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3248487152" sldId="2147484385"/>
          </pc:sldLayoutMkLst>
          <pc:spChg chg="mod">
            <ac:chgData name="Szabo, Corinne" userId="5f91d2e2-9041-4610-ba2d-7466ed1f64a1" providerId="ADAL" clId="{F9DC8332-650A-4F6E-AD93-DF41712C7C1D}" dt="2024-07-22T17:31:28.292" v="20"/>
            <ac:spMkLst>
              <pc:docMk/>
              <pc:sldMasterMk cId="3438207253" sldId="2147483868"/>
              <pc:sldLayoutMk cId="3248487152" sldId="2147484385"/>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9" creationId="{3C1D3E4B-0D64-40F0-AC79-888818F0218E}"/>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0" creationId="{2EEF24B0-86DB-4133-A52A-91860B0B6B92}"/>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1" creationId="{E70D6935-7D5D-4F8A-B1A0-C2DE8D9BC0D3}"/>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2" creationId="{AFF59E31-7EC3-4842-9145-18C5D598D3FA}"/>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3" creationId="{E98825BD-BD06-4FF8-887D-04AD09F6BFB0}"/>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4" creationId="{B0B072B7-919F-4A5F-8E73-32A3494B9B0B}"/>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5" creationId="{3C85046A-F0E3-463A-A327-F0914544B359}"/>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6" creationId="{9A2755F2-3F8B-4F01-B60A-9E4A871E2785}"/>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7" creationId="{E295763F-8C67-4990-B9F8-6C1BEB29BBEA}"/>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8" creationId="{10628B55-B8EE-4E71-8015-9BA5618CAA6D}"/>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19" creationId="{913BD82C-0630-4AD8-A01D-E9A4806B1649}"/>
            </ac:spMkLst>
          </pc:spChg>
          <pc:spChg chg="mod">
            <ac:chgData name="Szabo, Corinne" userId="5f91d2e2-9041-4610-ba2d-7466ed1f64a1" providerId="ADAL" clId="{F9DC8332-650A-4F6E-AD93-DF41712C7C1D}" dt="2024-07-22T17:31:28.292" v="20"/>
            <ac:spMkLst>
              <pc:docMk/>
              <pc:sldMasterMk cId="3438207253" sldId="2147483868"/>
              <pc:sldLayoutMk cId="3248487152" sldId="2147484385"/>
              <ac:spMk id="20" creationId="{907D664B-7697-4738-B049-760E0362D547}"/>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29034367" sldId="2147484386"/>
          </pc:sldLayoutMkLst>
          <pc:spChg chg="mod">
            <ac:chgData name="Szabo, Corinne" userId="5f91d2e2-9041-4610-ba2d-7466ed1f64a1" providerId="ADAL" clId="{F9DC8332-650A-4F6E-AD93-DF41712C7C1D}" dt="2024-07-22T17:31:28.292" v="20"/>
            <ac:spMkLst>
              <pc:docMk/>
              <pc:sldMasterMk cId="3438207253" sldId="2147483868"/>
              <pc:sldLayoutMk cId="229034367" sldId="2147484386"/>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7" creationId="{E49FC8AB-615B-4FC8-B835-C931DAD57CE5}"/>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0" creationId="{2EEF24B0-86DB-4133-A52A-91860B0B6B92}"/>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1" creationId="{E70D6935-7D5D-4F8A-B1A0-C2DE8D9BC0D3}"/>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3" creationId="{E98825BD-BD06-4FF8-887D-04AD09F6BFB0}"/>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4" creationId="{B0B072B7-919F-4A5F-8E73-32A3494B9B0B}"/>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6" creationId="{9A2755F2-3F8B-4F01-B60A-9E4A871E2785}"/>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7" creationId="{E295763F-8C67-4990-B9F8-6C1BEB29BBEA}"/>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19" creationId="{913BD82C-0630-4AD8-A01D-E9A4806B1649}"/>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20" creationId="{907D664B-7697-4738-B049-760E0362D547}"/>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22" creationId="{E4274060-1F12-487F-9CE2-BCD7086CBCE8}"/>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26" creationId="{0F273126-DBF1-443F-A8F3-03725919BE12}"/>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27" creationId="{C24B6AA0-79F3-4590-8333-C9978F312AB6}"/>
            </ac:spMkLst>
          </pc:spChg>
          <pc:spChg chg="mod">
            <ac:chgData name="Szabo, Corinne" userId="5f91d2e2-9041-4610-ba2d-7466ed1f64a1" providerId="ADAL" clId="{F9DC8332-650A-4F6E-AD93-DF41712C7C1D}" dt="2024-07-22T17:31:28.292" v="20"/>
            <ac:spMkLst>
              <pc:docMk/>
              <pc:sldMasterMk cId="3438207253" sldId="2147483868"/>
              <pc:sldLayoutMk cId="229034367" sldId="2147484386"/>
              <ac:spMk id="28" creationId="{71B63FD7-F875-41F1-9D8F-4C0EF37DDA06}"/>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26213809" sldId="2147484387"/>
          </pc:sldLayoutMkLst>
          <pc:spChg chg="mod">
            <ac:chgData name="Szabo, Corinne" userId="5f91d2e2-9041-4610-ba2d-7466ed1f64a1" providerId="ADAL" clId="{F9DC8332-650A-4F6E-AD93-DF41712C7C1D}" dt="2024-07-22T17:31:28.292" v="20"/>
            <ac:spMkLst>
              <pc:docMk/>
              <pc:sldMasterMk cId="3438207253" sldId="2147483868"/>
              <pc:sldLayoutMk cId="26213809" sldId="2147484387"/>
              <ac:spMk id="2" creationId="{0B358BDB-BF07-4C04-BA3F-88BF71C7A70F}"/>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 creationId="{B1A16982-0955-4E60-B17F-26B37AF4499E}"/>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4" creationId="{1C890CFD-F1B2-481D-A9E8-E1CCAFE2E476}"/>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5" creationId="{ABDEA2D5-8CE6-4B1B-AAA6-EE330F2B6C88}"/>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10" creationId="{2EEF24B0-86DB-4133-A52A-91860B0B6B92}"/>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23" creationId="{953DA66B-137D-47B6-8DA7-27E06FF25956}"/>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24" creationId="{2D68E202-E76F-464A-B0C2-1E13376D70A6}"/>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25" creationId="{792B6F82-889B-4AF6-A746-F085DEB0873D}"/>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29" creationId="{137812CF-3B39-4CF8-8941-3C63B8EF9864}"/>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0" creationId="{0767E903-B71B-42DA-A479-12D005B44640}"/>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1" creationId="{9C127890-EEE2-4190-84FC-3C5E7F0A79DE}"/>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2" creationId="{7FC3F0A9-74C0-49CE-A6A2-C69FA56C7D19}"/>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3" creationId="{3A2EB497-5B25-4BA3-B39F-7AB104121238}"/>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4" creationId="{E666DFFB-216E-4DA9-B075-9D8F40308A94}"/>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5" creationId="{7F7D30A5-A4AF-488C-9EC9-A0CA69CF7013}"/>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6" creationId="{B3C49AA5-0A02-444B-BAA7-69D15A857167}"/>
            </ac:spMkLst>
          </pc:spChg>
          <pc:spChg chg="mod">
            <ac:chgData name="Szabo, Corinne" userId="5f91d2e2-9041-4610-ba2d-7466ed1f64a1" providerId="ADAL" clId="{F9DC8332-650A-4F6E-AD93-DF41712C7C1D}" dt="2024-07-22T17:31:28.292" v="20"/>
            <ac:spMkLst>
              <pc:docMk/>
              <pc:sldMasterMk cId="3438207253" sldId="2147483868"/>
              <pc:sldLayoutMk cId="26213809" sldId="2147484387"/>
              <ac:spMk id="37" creationId="{287F8DFF-A1F2-4618-A5A2-364AEEA76F47}"/>
            </ac:spMkLst>
          </pc:spChg>
        </pc:sldLayoutChg>
        <pc:sldLayoutChg chg="mod ord">
          <pc:chgData name="Szabo, Corinne" userId="5f91d2e2-9041-4610-ba2d-7466ed1f64a1" providerId="ADAL" clId="{F9DC8332-650A-4F6E-AD93-DF41712C7C1D}" dt="2024-07-22T17:31:28.292" v="20"/>
          <pc:sldLayoutMkLst>
            <pc:docMk/>
            <pc:sldMasterMk cId="3438207253" sldId="2147483868"/>
            <pc:sldLayoutMk cId="217030916" sldId="2147484388"/>
          </pc:sldLayoutMkLst>
        </pc:sldLayoutChg>
        <pc:sldLayoutChg chg="mod ord">
          <pc:chgData name="Szabo, Corinne" userId="5f91d2e2-9041-4610-ba2d-7466ed1f64a1" providerId="ADAL" clId="{F9DC8332-650A-4F6E-AD93-DF41712C7C1D}" dt="2024-07-22T17:31:28.292" v="20"/>
          <pc:sldLayoutMkLst>
            <pc:docMk/>
            <pc:sldMasterMk cId="3438207253" sldId="2147483868"/>
            <pc:sldLayoutMk cId="4105020953" sldId="2147484389"/>
          </pc:sldLayoutMkLst>
        </pc:sldLayoutChg>
        <pc:sldLayoutChg chg="modSp mod ord">
          <pc:chgData name="Szabo, Corinne" userId="5f91d2e2-9041-4610-ba2d-7466ed1f64a1" providerId="ADAL" clId="{F9DC8332-650A-4F6E-AD93-DF41712C7C1D}" dt="2024-07-22T17:31:28.292" v="20"/>
          <pc:sldLayoutMkLst>
            <pc:docMk/>
            <pc:sldMasterMk cId="3438207253" sldId="2147483868"/>
            <pc:sldLayoutMk cId="2212001630" sldId="2147484390"/>
          </pc:sldLayoutMkLst>
          <pc:spChg chg="mod">
            <ac:chgData name="Szabo, Corinne" userId="5f91d2e2-9041-4610-ba2d-7466ed1f64a1" providerId="ADAL" clId="{F9DC8332-650A-4F6E-AD93-DF41712C7C1D}" dt="2024-07-22T17:31:28.292" v="20"/>
            <ac:spMkLst>
              <pc:docMk/>
              <pc:sldMasterMk cId="3438207253" sldId="2147483868"/>
              <pc:sldLayoutMk cId="2212001630" sldId="2147484390"/>
              <ac:spMk id="10" creationId="{F4458531-4DF4-4B04-8685-64A0979C1949}"/>
            </ac:spMkLst>
          </pc:spChg>
          <pc:spChg chg="mod">
            <ac:chgData name="Szabo, Corinne" userId="5f91d2e2-9041-4610-ba2d-7466ed1f64a1" providerId="ADAL" clId="{F9DC8332-650A-4F6E-AD93-DF41712C7C1D}" dt="2024-07-22T17:31:28.292" v="20"/>
            <ac:spMkLst>
              <pc:docMk/>
              <pc:sldMasterMk cId="3438207253" sldId="2147483868"/>
              <pc:sldLayoutMk cId="2212001630" sldId="2147484390"/>
              <ac:spMk id="11" creationId="{C3F5D30B-684A-44B7-B222-1EACC91C74F2}"/>
            </ac:spMkLst>
          </pc:spChg>
          <pc:spChg chg="mod">
            <ac:chgData name="Szabo, Corinne" userId="5f91d2e2-9041-4610-ba2d-7466ed1f64a1" providerId="ADAL" clId="{F9DC8332-650A-4F6E-AD93-DF41712C7C1D}" dt="2024-07-22T17:31:28.292" v="20"/>
            <ac:spMkLst>
              <pc:docMk/>
              <pc:sldMasterMk cId="3438207253" sldId="2147483868"/>
              <pc:sldLayoutMk cId="2212001630" sldId="2147484390"/>
              <ac:spMk id="13" creationId="{C1954307-1534-478B-94B8-FE9E1F84DE3F}"/>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442087310" sldId="2147484391"/>
          </pc:sldLayoutMkLst>
          <pc:spChg chg="mod">
            <ac:chgData name="Szabo, Corinne" userId="5f91d2e2-9041-4610-ba2d-7466ed1f64a1" providerId="ADAL" clId="{F9DC8332-650A-4F6E-AD93-DF41712C7C1D}" dt="2024-07-22T17:31:28.292" v="20"/>
            <ac:spMkLst>
              <pc:docMk/>
              <pc:sldMasterMk cId="3438207253" sldId="2147483868"/>
              <pc:sldLayoutMk cId="442087310" sldId="2147484391"/>
              <ac:spMk id="10" creationId="{F4458531-4DF4-4B04-8685-64A0979C1949}"/>
            </ac:spMkLst>
          </pc:spChg>
        </pc:sldLayoutChg>
        <pc:sldLayoutChg chg="mod ord">
          <pc:chgData name="Szabo, Corinne" userId="5f91d2e2-9041-4610-ba2d-7466ed1f64a1" providerId="ADAL" clId="{F9DC8332-650A-4F6E-AD93-DF41712C7C1D}" dt="2024-07-22T17:31:28.292" v="20"/>
          <pc:sldLayoutMkLst>
            <pc:docMk/>
            <pc:sldMasterMk cId="3438207253" sldId="2147483868"/>
            <pc:sldLayoutMk cId="14048935" sldId="2147484392"/>
          </pc:sldLayoutMkLst>
        </pc:sldLayoutChg>
        <pc:sldLayoutChg chg="modSp mod ord">
          <pc:chgData name="Szabo, Corinne" userId="5f91d2e2-9041-4610-ba2d-7466ed1f64a1" providerId="ADAL" clId="{F9DC8332-650A-4F6E-AD93-DF41712C7C1D}" dt="2024-07-22T17:31:28.292" v="20"/>
          <pc:sldLayoutMkLst>
            <pc:docMk/>
            <pc:sldMasterMk cId="3438207253" sldId="2147483868"/>
            <pc:sldLayoutMk cId="1722682780" sldId="2147484393"/>
          </pc:sldLayoutMkLst>
          <pc:spChg chg="mod">
            <ac:chgData name="Szabo, Corinne" userId="5f91d2e2-9041-4610-ba2d-7466ed1f64a1" providerId="ADAL" clId="{F9DC8332-650A-4F6E-AD93-DF41712C7C1D}" dt="2024-07-22T17:31:28.292" v="20"/>
            <ac:spMkLst>
              <pc:docMk/>
              <pc:sldMasterMk cId="3438207253" sldId="2147483868"/>
              <pc:sldLayoutMk cId="1722682780" sldId="2147484393"/>
              <ac:spMk id="5" creationId="{58ED9BC3-51F3-40C3-B56A-AB6C7524AF2F}"/>
            </ac:spMkLst>
          </pc:spChg>
        </pc:sldLayoutChg>
        <pc:sldLayoutChg chg="modSp mod ord">
          <pc:chgData name="Szabo, Corinne" userId="5f91d2e2-9041-4610-ba2d-7466ed1f64a1" providerId="ADAL" clId="{F9DC8332-650A-4F6E-AD93-DF41712C7C1D}" dt="2024-07-22T17:31:28.292" v="20"/>
          <pc:sldLayoutMkLst>
            <pc:docMk/>
            <pc:sldMasterMk cId="3438207253" sldId="2147483868"/>
            <pc:sldLayoutMk cId="3242650617" sldId="2147484394"/>
          </pc:sldLayoutMkLst>
          <pc:spChg chg="mod">
            <ac:chgData name="Szabo, Corinne" userId="5f91d2e2-9041-4610-ba2d-7466ed1f64a1" providerId="ADAL" clId="{F9DC8332-650A-4F6E-AD93-DF41712C7C1D}" dt="2024-07-22T17:31:28.292" v="20"/>
            <ac:spMkLst>
              <pc:docMk/>
              <pc:sldMasterMk cId="3438207253" sldId="2147483868"/>
              <pc:sldLayoutMk cId="3242650617" sldId="2147484394"/>
              <ac:spMk id="5" creationId="{00000000-0000-0000-0000-000000000000}"/>
            </ac:spMkLst>
          </pc:spChg>
          <pc:spChg chg="mod">
            <ac:chgData name="Szabo, Corinne" userId="5f91d2e2-9041-4610-ba2d-7466ed1f64a1" providerId="ADAL" clId="{F9DC8332-650A-4F6E-AD93-DF41712C7C1D}" dt="2024-07-22T17:31:28.292" v="20"/>
            <ac:spMkLst>
              <pc:docMk/>
              <pc:sldMasterMk cId="3438207253" sldId="2147483868"/>
              <pc:sldLayoutMk cId="3242650617" sldId="2147484394"/>
              <ac:spMk id="14" creationId="{7739A81D-20E5-417D-BD4E-369C17CA4747}"/>
            </ac:spMkLst>
          </pc:spChg>
          <pc:spChg chg="mod">
            <ac:chgData name="Szabo, Corinne" userId="5f91d2e2-9041-4610-ba2d-7466ed1f64a1" providerId="ADAL" clId="{F9DC8332-650A-4F6E-AD93-DF41712C7C1D}" dt="2024-07-22T17:31:28.292" v="20"/>
            <ac:spMkLst>
              <pc:docMk/>
              <pc:sldMasterMk cId="3438207253" sldId="2147483868"/>
              <pc:sldLayoutMk cId="3242650617" sldId="2147484394"/>
              <ac:spMk id="20" creationId="{DB4E34FA-C623-4839-9B92-4D9DF6EC507F}"/>
            </ac:spMkLst>
          </pc:spChg>
          <pc:spChg chg="mod">
            <ac:chgData name="Szabo, Corinne" userId="5f91d2e2-9041-4610-ba2d-7466ed1f64a1" providerId="ADAL" clId="{F9DC8332-650A-4F6E-AD93-DF41712C7C1D}" dt="2024-07-22T17:31:28.292" v="20"/>
            <ac:spMkLst>
              <pc:docMk/>
              <pc:sldMasterMk cId="3438207253" sldId="2147483868"/>
              <pc:sldLayoutMk cId="3242650617" sldId="2147484394"/>
              <ac:spMk id="41" creationId="{FBE85E36-38D6-4DDE-BD74-8C716E3CFD86}"/>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15799081" sldId="2147484566"/>
          </pc:sldLayoutMkLst>
          <pc:spChg chg="mod">
            <ac:chgData name="Szabo, Corinne" userId="5f91d2e2-9041-4610-ba2d-7466ed1f64a1" providerId="ADAL" clId="{F9DC8332-650A-4F6E-AD93-DF41712C7C1D}" dt="2024-07-22T17:31:28.307" v="21"/>
            <ac:spMkLst>
              <pc:docMk/>
              <pc:sldMasterMk cId="3438207253" sldId="2147483868"/>
              <pc:sldLayoutMk cId="215799081" sldId="2147484566"/>
              <ac:spMk id="5"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15799081" sldId="2147484566"/>
              <ac:spMk id="14" creationId="{7739A81D-20E5-417D-BD4E-369C17CA4747}"/>
            </ac:spMkLst>
          </pc:spChg>
          <pc:spChg chg="mod">
            <ac:chgData name="Szabo, Corinne" userId="5f91d2e2-9041-4610-ba2d-7466ed1f64a1" providerId="ADAL" clId="{F9DC8332-650A-4F6E-AD93-DF41712C7C1D}" dt="2024-07-22T17:31:28.307" v="21"/>
            <ac:spMkLst>
              <pc:docMk/>
              <pc:sldMasterMk cId="3438207253" sldId="2147483868"/>
              <pc:sldLayoutMk cId="215799081" sldId="2147484566"/>
              <ac:spMk id="20" creationId="{DB4E34FA-C623-4839-9B92-4D9DF6EC507F}"/>
            </ac:spMkLst>
          </pc:spChg>
          <pc:spChg chg="mod">
            <ac:chgData name="Szabo, Corinne" userId="5f91d2e2-9041-4610-ba2d-7466ed1f64a1" providerId="ADAL" clId="{F9DC8332-650A-4F6E-AD93-DF41712C7C1D}" dt="2024-07-22T17:31:28.307" v="21"/>
            <ac:spMkLst>
              <pc:docMk/>
              <pc:sldMasterMk cId="3438207253" sldId="2147483868"/>
              <pc:sldLayoutMk cId="215799081" sldId="2147484566"/>
              <ac:spMk id="41" creationId="{FBE85E36-38D6-4DDE-BD74-8C716E3CFD86}"/>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4086092535" sldId="2147484567"/>
          </pc:sldLayoutMkLst>
          <pc:spChg chg="mod">
            <ac:chgData name="Szabo, Corinne" userId="5f91d2e2-9041-4610-ba2d-7466ed1f64a1" providerId="ADAL" clId="{F9DC8332-650A-4F6E-AD93-DF41712C7C1D}" dt="2024-07-22T17:31:28.307" v="21"/>
            <ac:spMkLst>
              <pc:docMk/>
              <pc:sldMasterMk cId="3438207253" sldId="2147483868"/>
              <pc:sldLayoutMk cId="4086092535" sldId="2147484567"/>
              <ac:spMk id="5"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6"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9" creationId="{A6EC4B31-2DFA-4559-AB10-E11976047660}"/>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11" creationId="{F962AB37-50EC-4503-8AA2-809CFE862FEE}"/>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12" creationId="{C5B3E9C5-B899-4D3C-A9B0-27E24942FE71}"/>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13" creationId="{9669F93A-B977-4DFE-A6C8-3986F7EE0456}"/>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14" creationId="{F97CD7AE-C149-499A-8E8B-78FBC9FF8C8C}"/>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15" creationId="{4F3BCA7B-0501-40F7-B99E-23F44866A3C3}"/>
            </ac:spMkLst>
          </pc:spChg>
          <pc:spChg chg="mod">
            <ac:chgData name="Szabo, Corinne" userId="5f91d2e2-9041-4610-ba2d-7466ed1f64a1" providerId="ADAL" clId="{F9DC8332-650A-4F6E-AD93-DF41712C7C1D}" dt="2024-07-22T17:31:28.307" v="21"/>
            <ac:spMkLst>
              <pc:docMk/>
              <pc:sldMasterMk cId="3438207253" sldId="2147483868"/>
              <pc:sldLayoutMk cId="4086092535" sldId="2147484567"/>
              <ac:spMk id="16" creationId="{D477FE8C-6A1A-4D84-9733-FEB24C12420F}"/>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930284482" sldId="2147484568"/>
          </pc:sldLayoutMkLst>
          <pc:spChg chg="mod">
            <ac:chgData name="Szabo, Corinne" userId="5f91d2e2-9041-4610-ba2d-7466ed1f64a1" providerId="ADAL" clId="{F9DC8332-650A-4F6E-AD93-DF41712C7C1D}" dt="2024-07-22T17:31:28.307" v="21"/>
            <ac:spMkLst>
              <pc:docMk/>
              <pc:sldMasterMk cId="3438207253" sldId="2147483868"/>
              <pc:sldLayoutMk cId="930284482" sldId="2147484568"/>
              <ac:spMk id="5"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6"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9" creationId="{A6EC4B31-2DFA-4559-AB10-E11976047660}"/>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11" creationId="{F962AB37-50EC-4503-8AA2-809CFE862FEE}"/>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17" creationId="{C6198300-891C-4CDF-B7FC-448A45252848}"/>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18" creationId="{044CA1F3-5EDB-4E31-B491-6F2F9388C87B}"/>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19" creationId="{469D2F4C-18C8-4DB6-948C-09F2A239761D}"/>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20" creationId="{679BFE12-15D5-4E36-9C80-2F8D4D1262DF}"/>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21" creationId="{46C952A7-F50A-4EEE-A0D1-E4A89AA3FFBE}"/>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22" creationId="{593194FC-AC00-46FC-BBB7-384D720B9AAB}"/>
            </ac:spMkLst>
          </pc:spChg>
          <pc:spChg chg="mod">
            <ac:chgData name="Szabo, Corinne" userId="5f91d2e2-9041-4610-ba2d-7466ed1f64a1" providerId="ADAL" clId="{F9DC8332-650A-4F6E-AD93-DF41712C7C1D}" dt="2024-07-22T17:31:28.307" v="21"/>
            <ac:spMkLst>
              <pc:docMk/>
              <pc:sldMasterMk cId="3438207253" sldId="2147483868"/>
              <pc:sldLayoutMk cId="930284482" sldId="2147484568"/>
              <ac:spMk id="23" creationId="{59B35118-AE21-4B33-8819-E1D2AC34F08A}"/>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513233044" sldId="2147484569"/>
          </pc:sldLayoutMkLst>
          <pc:spChg chg="mod">
            <ac:chgData name="Szabo, Corinne" userId="5f91d2e2-9041-4610-ba2d-7466ed1f64a1" providerId="ADAL" clId="{F9DC8332-650A-4F6E-AD93-DF41712C7C1D}" dt="2024-07-22T17:31:28.307" v="21"/>
            <ac:spMkLst>
              <pc:docMk/>
              <pc:sldMasterMk cId="3438207253" sldId="2147483868"/>
              <pc:sldLayoutMk cId="2513233044" sldId="2147484569"/>
              <ac:spMk id="2" creationId="{78F6AAB6-F2E4-4C18-A86D-448422BA4865}"/>
            </ac:spMkLst>
          </pc:spChg>
          <pc:spChg chg="mod">
            <ac:chgData name="Szabo, Corinne" userId="5f91d2e2-9041-4610-ba2d-7466ed1f64a1" providerId="ADAL" clId="{F9DC8332-650A-4F6E-AD93-DF41712C7C1D}" dt="2024-07-22T17:31:28.307" v="21"/>
            <ac:spMkLst>
              <pc:docMk/>
              <pc:sldMasterMk cId="3438207253" sldId="2147483868"/>
              <pc:sldLayoutMk cId="2513233044" sldId="2147484569"/>
              <ac:spMk id="6"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513233044" sldId="2147484569"/>
              <ac:spMk id="9" creationId="{7E363F8D-EEA3-433B-A76A-F8A04A2C93FF}"/>
            </ac:spMkLst>
          </pc:spChg>
          <pc:spChg chg="mod">
            <ac:chgData name="Szabo, Corinne" userId="5f91d2e2-9041-4610-ba2d-7466ed1f64a1" providerId="ADAL" clId="{F9DC8332-650A-4F6E-AD93-DF41712C7C1D}" dt="2024-07-22T17:31:28.307" v="21"/>
            <ac:spMkLst>
              <pc:docMk/>
              <pc:sldMasterMk cId="3438207253" sldId="2147483868"/>
              <pc:sldLayoutMk cId="2513233044" sldId="2147484569"/>
              <ac:spMk id="10" creationId="{F11E67DA-00A0-4F1A-B898-BB338E70DE2A}"/>
            </ac:spMkLst>
          </pc:spChg>
          <pc:spChg chg="mod">
            <ac:chgData name="Szabo, Corinne" userId="5f91d2e2-9041-4610-ba2d-7466ed1f64a1" providerId="ADAL" clId="{F9DC8332-650A-4F6E-AD93-DF41712C7C1D}" dt="2024-07-22T17:31:28.307" v="21"/>
            <ac:spMkLst>
              <pc:docMk/>
              <pc:sldMasterMk cId="3438207253" sldId="2147483868"/>
              <pc:sldLayoutMk cId="2513233044" sldId="2147484569"/>
              <ac:spMk id="25" creationId="{D61D2F69-37BB-47BA-8265-CA2F040D7CF4}"/>
            </ac:spMkLst>
          </pc:spChg>
          <pc:spChg chg="mod">
            <ac:chgData name="Szabo, Corinne" userId="5f91d2e2-9041-4610-ba2d-7466ed1f64a1" providerId="ADAL" clId="{F9DC8332-650A-4F6E-AD93-DF41712C7C1D}" dt="2024-07-22T17:31:28.307" v="21"/>
            <ac:spMkLst>
              <pc:docMk/>
              <pc:sldMasterMk cId="3438207253" sldId="2147483868"/>
              <pc:sldLayoutMk cId="2513233044" sldId="2147484569"/>
              <ac:spMk id="27" creationId="{C16C3C58-3A02-483B-8729-F6F5F6328C4F}"/>
            </ac:spMkLst>
          </pc:spChg>
          <pc:spChg chg="mod">
            <ac:chgData name="Szabo, Corinne" userId="5f91d2e2-9041-4610-ba2d-7466ed1f64a1" providerId="ADAL" clId="{F9DC8332-650A-4F6E-AD93-DF41712C7C1D}" dt="2024-07-22T17:31:28.307" v="21"/>
            <ac:spMkLst>
              <pc:docMk/>
              <pc:sldMasterMk cId="3438207253" sldId="2147483868"/>
              <pc:sldLayoutMk cId="2513233044" sldId="2147484569"/>
              <ac:spMk id="28" creationId="{F1EE69F4-857D-4A73-8B71-041F161F562B}"/>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930639085" sldId="2147484570"/>
          </pc:sldLayoutMkLst>
          <pc:spChg chg="mod">
            <ac:chgData name="Szabo, Corinne" userId="5f91d2e2-9041-4610-ba2d-7466ed1f64a1" providerId="ADAL" clId="{F9DC8332-650A-4F6E-AD93-DF41712C7C1D}" dt="2024-07-22T17:31:28.307" v="21"/>
            <ac:spMkLst>
              <pc:docMk/>
              <pc:sldMasterMk cId="3438207253" sldId="2147483868"/>
              <pc:sldLayoutMk cId="2930639085" sldId="2147484570"/>
              <ac:spMk id="6"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930639085" sldId="2147484570"/>
              <ac:spMk id="9" creationId="{7E363F8D-EEA3-433B-A76A-F8A04A2C93FF}"/>
            </ac:spMkLst>
          </pc:spChg>
          <pc:spChg chg="mod">
            <ac:chgData name="Szabo, Corinne" userId="5f91d2e2-9041-4610-ba2d-7466ed1f64a1" providerId="ADAL" clId="{F9DC8332-650A-4F6E-AD93-DF41712C7C1D}" dt="2024-07-22T17:31:28.307" v="21"/>
            <ac:spMkLst>
              <pc:docMk/>
              <pc:sldMasterMk cId="3438207253" sldId="2147483868"/>
              <pc:sldLayoutMk cId="2930639085" sldId="2147484570"/>
              <ac:spMk id="10" creationId="{F11E67DA-00A0-4F1A-B898-BB338E70DE2A}"/>
            </ac:spMkLst>
          </pc:spChg>
          <pc:spChg chg="mod">
            <ac:chgData name="Szabo, Corinne" userId="5f91d2e2-9041-4610-ba2d-7466ed1f64a1" providerId="ADAL" clId="{F9DC8332-650A-4F6E-AD93-DF41712C7C1D}" dt="2024-07-22T17:31:28.307" v="21"/>
            <ac:spMkLst>
              <pc:docMk/>
              <pc:sldMasterMk cId="3438207253" sldId="2147483868"/>
              <pc:sldLayoutMk cId="2930639085" sldId="2147484570"/>
              <ac:spMk id="13" creationId="{4958C054-839F-4DE0-821D-EA7EB605C25A}"/>
            </ac:spMkLst>
          </pc:spChg>
          <pc:spChg chg="mod">
            <ac:chgData name="Szabo, Corinne" userId="5f91d2e2-9041-4610-ba2d-7466ed1f64a1" providerId="ADAL" clId="{F9DC8332-650A-4F6E-AD93-DF41712C7C1D}" dt="2024-07-22T17:31:28.307" v="21"/>
            <ac:spMkLst>
              <pc:docMk/>
              <pc:sldMasterMk cId="3438207253" sldId="2147483868"/>
              <pc:sldLayoutMk cId="2930639085" sldId="2147484570"/>
              <ac:spMk id="26" creationId="{9E2829E9-8450-4387-8829-2806A9CFA66C}"/>
            </ac:spMkLst>
          </pc:spChg>
          <pc:spChg chg="mod">
            <ac:chgData name="Szabo, Corinne" userId="5f91d2e2-9041-4610-ba2d-7466ed1f64a1" providerId="ADAL" clId="{F9DC8332-650A-4F6E-AD93-DF41712C7C1D}" dt="2024-07-22T17:31:28.307" v="21"/>
            <ac:spMkLst>
              <pc:docMk/>
              <pc:sldMasterMk cId="3438207253" sldId="2147483868"/>
              <pc:sldLayoutMk cId="2930639085" sldId="2147484570"/>
              <ac:spMk id="27" creationId="{C16C3C58-3A02-483B-8729-F6F5F6328C4F}"/>
            </ac:spMkLst>
          </pc:spChg>
          <pc:spChg chg="mod">
            <ac:chgData name="Szabo, Corinne" userId="5f91d2e2-9041-4610-ba2d-7466ed1f64a1" providerId="ADAL" clId="{F9DC8332-650A-4F6E-AD93-DF41712C7C1D}" dt="2024-07-22T17:31:28.307" v="21"/>
            <ac:spMkLst>
              <pc:docMk/>
              <pc:sldMasterMk cId="3438207253" sldId="2147483868"/>
              <pc:sldLayoutMk cId="2930639085" sldId="2147484570"/>
              <ac:spMk id="28" creationId="{F1EE69F4-857D-4A73-8B71-041F161F562B}"/>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449463805" sldId="2147484571"/>
          </pc:sldLayoutMkLst>
          <pc:spChg chg="mod">
            <ac:chgData name="Szabo, Corinne" userId="5f91d2e2-9041-4610-ba2d-7466ed1f64a1" providerId="ADAL" clId="{F9DC8332-650A-4F6E-AD93-DF41712C7C1D}" dt="2024-07-22T17:31:28.307" v="21"/>
            <ac:spMkLst>
              <pc:docMk/>
              <pc:sldMasterMk cId="3438207253" sldId="2147483868"/>
              <pc:sldLayoutMk cId="3449463805" sldId="2147484571"/>
              <ac:spMk id="6"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3449463805" sldId="2147484571"/>
              <ac:spMk id="9" creationId="{7E363F8D-EEA3-433B-A76A-F8A04A2C93FF}"/>
            </ac:spMkLst>
          </pc:spChg>
          <pc:spChg chg="mod">
            <ac:chgData name="Szabo, Corinne" userId="5f91d2e2-9041-4610-ba2d-7466ed1f64a1" providerId="ADAL" clId="{F9DC8332-650A-4F6E-AD93-DF41712C7C1D}" dt="2024-07-22T17:31:28.307" v="21"/>
            <ac:spMkLst>
              <pc:docMk/>
              <pc:sldMasterMk cId="3438207253" sldId="2147483868"/>
              <pc:sldLayoutMk cId="3449463805" sldId="2147484571"/>
              <ac:spMk id="10" creationId="{F11E67DA-00A0-4F1A-B898-BB338E70DE2A}"/>
            </ac:spMkLst>
          </pc:spChg>
          <pc:spChg chg="mod">
            <ac:chgData name="Szabo, Corinne" userId="5f91d2e2-9041-4610-ba2d-7466ed1f64a1" providerId="ADAL" clId="{F9DC8332-650A-4F6E-AD93-DF41712C7C1D}" dt="2024-07-22T17:31:28.307" v="21"/>
            <ac:spMkLst>
              <pc:docMk/>
              <pc:sldMasterMk cId="3438207253" sldId="2147483868"/>
              <pc:sldLayoutMk cId="3449463805" sldId="2147484571"/>
              <ac:spMk id="13" creationId="{4958C054-839F-4DE0-821D-EA7EB605C25A}"/>
            </ac:spMkLst>
          </pc:spChg>
          <pc:spChg chg="mod">
            <ac:chgData name="Szabo, Corinne" userId="5f91d2e2-9041-4610-ba2d-7466ed1f64a1" providerId="ADAL" clId="{F9DC8332-650A-4F6E-AD93-DF41712C7C1D}" dt="2024-07-22T17:31:28.307" v="21"/>
            <ac:spMkLst>
              <pc:docMk/>
              <pc:sldMasterMk cId="3438207253" sldId="2147483868"/>
              <pc:sldLayoutMk cId="3449463805" sldId="2147484571"/>
              <ac:spMk id="27" creationId="{C16C3C58-3A02-483B-8729-F6F5F6328C4F}"/>
            </ac:spMkLst>
          </pc:spChg>
          <pc:spChg chg="mod">
            <ac:chgData name="Szabo, Corinne" userId="5f91d2e2-9041-4610-ba2d-7466ed1f64a1" providerId="ADAL" clId="{F9DC8332-650A-4F6E-AD93-DF41712C7C1D}" dt="2024-07-22T17:31:28.307" v="21"/>
            <ac:spMkLst>
              <pc:docMk/>
              <pc:sldMasterMk cId="3438207253" sldId="2147483868"/>
              <pc:sldLayoutMk cId="3449463805" sldId="2147484571"/>
              <ac:spMk id="28" creationId="{F1EE69F4-857D-4A73-8B71-041F161F562B}"/>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134797130" sldId="2147484572"/>
          </pc:sldLayoutMkLst>
          <pc:spChg chg="mod">
            <ac:chgData name="Szabo, Corinne" userId="5f91d2e2-9041-4610-ba2d-7466ed1f64a1" providerId="ADAL" clId="{F9DC8332-650A-4F6E-AD93-DF41712C7C1D}" dt="2024-07-22T17:31:28.307" v="21"/>
            <ac:spMkLst>
              <pc:docMk/>
              <pc:sldMasterMk cId="3438207253" sldId="2147483868"/>
              <pc:sldLayoutMk cId="3134797130" sldId="2147484572"/>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7" creationId="{A4EC7FDF-598C-4F07-B51E-EA09316920A7}"/>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9" creationId="{00917691-819C-42A3-84E7-BB4918045702}"/>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0" creationId="{506018C7-23AA-4F16-9434-3E8994F999B4}"/>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1" creationId="{FD774C5B-6035-4185-9BDE-DDB15B8A7A5F}"/>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2" creationId="{A5E543C6-1776-417C-A381-3248B3DE5B11}"/>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4" creationId="{9055D76C-39DA-42A4-AF4C-BABEB32966EB}"/>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5" creationId="{25C1C280-CBCB-48A2-8E74-916061520FDF}"/>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3134797130" sldId="2147484572"/>
              <ac:spMk id="17" creationId="{86553560-FC2D-4819-8FE6-AD3C932F8997}"/>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80407616" sldId="2147484573"/>
          </pc:sldLayoutMkLst>
          <pc:spChg chg="mod">
            <ac:chgData name="Szabo, Corinne" userId="5f91d2e2-9041-4610-ba2d-7466ed1f64a1" providerId="ADAL" clId="{F9DC8332-650A-4F6E-AD93-DF41712C7C1D}" dt="2024-07-22T17:31:28.307" v="21"/>
            <ac:spMkLst>
              <pc:docMk/>
              <pc:sldMasterMk cId="3438207253" sldId="2147483868"/>
              <pc:sldLayoutMk cId="80407616" sldId="2147484573"/>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11" creationId="{FD774C5B-6035-4185-9BDE-DDB15B8A7A5F}"/>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14" creationId="{9055D76C-39DA-42A4-AF4C-BABEB32966EB}"/>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17" creationId="{86553560-FC2D-4819-8FE6-AD3C932F8997}"/>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28" creationId="{B2E427D2-44B7-4231-BE08-6119713FF637}"/>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29" creationId="{BAF961C0-A232-49BE-9E8F-69823A55AFD9}"/>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30" creationId="{9158BA98-678D-4CCB-8811-531B29A2FB54}"/>
            </ac:spMkLst>
          </pc:spChg>
          <pc:spChg chg="mod">
            <ac:chgData name="Szabo, Corinne" userId="5f91d2e2-9041-4610-ba2d-7466ed1f64a1" providerId="ADAL" clId="{F9DC8332-650A-4F6E-AD93-DF41712C7C1D}" dt="2024-07-22T17:31:28.307" v="21"/>
            <ac:spMkLst>
              <pc:docMk/>
              <pc:sldMasterMk cId="3438207253" sldId="2147483868"/>
              <pc:sldLayoutMk cId="80407616" sldId="2147484573"/>
              <ac:spMk id="31" creationId="{603F57E9-CF14-4327-BAEB-ADBCA7C1E991}"/>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971816355" sldId="2147484574"/>
          </pc:sldLayoutMkLst>
          <pc:spChg chg="mod">
            <ac:chgData name="Szabo, Corinne" userId="5f91d2e2-9041-4610-ba2d-7466ed1f64a1" providerId="ADAL" clId="{F9DC8332-650A-4F6E-AD93-DF41712C7C1D}" dt="2024-07-22T17:31:28.307" v="21"/>
            <ac:spMkLst>
              <pc:docMk/>
              <pc:sldMasterMk cId="3438207253" sldId="2147483868"/>
              <pc:sldLayoutMk cId="2971816355" sldId="2147484574"/>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2971816355" sldId="2147484574"/>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2971816355" sldId="2147484574"/>
              <ac:spMk id="7" creationId="{A4EC7FDF-598C-4F07-B51E-EA09316920A7}"/>
            </ac:spMkLst>
          </pc:spChg>
          <pc:spChg chg="mod">
            <ac:chgData name="Szabo, Corinne" userId="5f91d2e2-9041-4610-ba2d-7466ed1f64a1" providerId="ADAL" clId="{F9DC8332-650A-4F6E-AD93-DF41712C7C1D}" dt="2024-07-22T17:31:28.307" v="21"/>
            <ac:spMkLst>
              <pc:docMk/>
              <pc:sldMasterMk cId="3438207253" sldId="2147483868"/>
              <pc:sldLayoutMk cId="2971816355" sldId="2147484574"/>
              <ac:spMk id="14" creationId="{9055D76C-39DA-42A4-AF4C-BABEB32966EB}"/>
            </ac:spMkLst>
          </pc:spChg>
          <pc:spChg chg="mod">
            <ac:chgData name="Szabo, Corinne" userId="5f91d2e2-9041-4610-ba2d-7466ed1f64a1" providerId="ADAL" clId="{F9DC8332-650A-4F6E-AD93-DF41712C7C1D}" dt="2024-07-22T17:31:28.307" v="21"/>
            <ac:spMkLst>
              <pc:docMk/>
              <pc:sldMasterMk cId="3438207253" sldId="2147483868"/>
              <pc:sldLayoutMk cId="2971816355" sldId="2147484574"/>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2971816355" sldId="2147484574"/>
              <ac:spMk id="17" creationId="{86553560-FC2D-4819-8FE6-AD3C932F8997}"/>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71477151" sldId="2147484575"/>
          </pc:sldLayoutMkLst>
          <pc:spChg chg="mod">
            <ac:chgData name="Szabo, Corinne" userId="5f91d2e2-9041-4610-ba2d-7466ed1f64a1" providerId="ADAL" clId="{F9DC8332-650A-4F6E-AD93-DF41712C7C1D}" dt="2024-07-22T17:31:28.307" v="21"/>
            <ac:spMkLst>
              <pc:docMk/>
              <pc:sldMasterMk cId="3438207253" sldId="2147483868"/>
              <pc:sldLayoutMk cId="71477151" sldId="2147484575"/>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71477151" sldId="2147484575"/>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71477151" sldId="2147484575"/>
              <ac:spMk id="7" creationId="{A4EC7FDF-598C-4F07-B51E-EA09316920A7}"/>
            </ac:spMkLst>
          </pc:spChg>
          <pc:spChg chg="mod">
            <ac:chgData name="Szabo, Corinne" userId="5f91d2e2-9041-4610-ba2d-7466ed1f64a1" providerId="ADAL" clId="{F9DC8332-650A-4F6E-AD93-DF41712C7C1D}" dt="2024-07-22T17:31:28.307" v="21"/>
            <ac:spMkLst>
              <pc:docMk/>
              <pc:sldMasterMk cId="3438207253" sldId="2147483868"/>
              <pc:sldLayoutMk cId="71477151" sldId="2147484575"/>
              <ac:spMk id="14" creationId="{9055D76C-39DA-42A4-AF4C-BABEB32966EB}"/>
            </ac:spMkLst>
          </pc:spChg>
          <pc:spChg chg="mod">
            <ac:chgData name="Szabo, Corinne" userId="5f91d2e2-9041-4610-ba2d-7466ed1f64a1" providerId="ADAL" clId="{F9DC8332-650A-4F6E-AD93-DF41712C7C1D}" dt="2024-07-22T17:31:28.307" v="21"/>
            <ac:spMkLst>
              <pc:docMk/>
              <pc:sldMasterMk cId="3438207253" sldId="2147483868"/>
              <pc:sldLayoutMk cId="71477151" sldId="2147484575"/>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71477151" sldId="2147484575"/>
              <ac:spMk id="17" creationId="{86553560-FC2D-4819-8FE6-AD3C932F8997}"/>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830864817" sldId="2147484576"/>
          </pc:sldLayoutMkLst>
          <pc:spChg chg="mod">
            <ac:chgData name="Szabo, Corinne" userId="5f91d2e2-9041-4610-ba2d-7466ed1f64a1" providerId="ADAL" clId="{F9DC8332-650A-4F6E-AD93-DF41712C7C1D}" dt="2024-07-22T17:31:28.307" v="21"/>
            <ac:spMkLst>
              <pc:docMk/>
              <pc:sldMasterMk cId="3438207253" sldId="2147483868"/>
              <pc:sldLayoutMk cId="3830864817" sldId="2147484576"/>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3830864817" sldId="2147484576"/>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3830864817" sldId="2147484576"/>
              <ac:spMk id="8" creationId="{8487CAE0-18C9-4499-B74E-BEEC84738C97}"/>
            </ac:spMkLst>
          </pc:spChg>
          <pc:spChg chg="mod">
            <ac:chgData name="Szabo, Corinne" userId="5f91d2e2-9041-4610-ba2d-7466ed1f64a1" providerId="ADAL" clId="{F9DC8332-650A-4F6E-AD93-DF41712C7C1D}" dt="2024-07-22T17:31:28.307" v="21"/>
            <ac:spMkLst>
              <pc:docMk/>
              <pc:sldMasterMk cId="3438207253" sldId="2147483868"/>
              <pc:sldLayoutMk cId="3830864817" sldId="2147484576"/>
              <ac:spMk id="14" creationId="{9055D76C-39DA-42A4-AF4C-BABEB32966EB}"/>
            </ac:spMkLst>
          </pc:spChg>
          <pc:spChg chg="mod">
            <ac:chgData name="Szabo, Corinne" userId="5f91d2e2-9041-4610-ba2d-7466ed1f64a1" providerId="ADAL" clId="{F9DC8332-650A-4F6E-AD93-DF41712C7C1D}" dt="2024-07-22T17:31:28.307" v="21"/>
            <ac:spMkLst>
              <pc:docMk/>
              <pc:sldMasterMk cId="3438207253" sldId="2147483868"/>
              <pc:sldLayoutMk cId="3830864817" sldId="2147484576"/>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3830864817" sldId="2147484576"/>
              <ac:spMk id="17" creationId="{86553560-FC2D-4819-8FE6-AD3C932F8997}"/>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1622583498" sldId="2147484577"/>
          </pc:sldLayoutMkLst>
          <pc:spChg chg="mod">
            <ac:chgData name="Szabo, Corinne" userId="5f91d2e2-9041-4610-ba2d-7466ed1f64a1" providerId="ADAL" clId="{F9DC8332-650A-4F6E-AD93-DF41712C7C1D}" dt="2024-07-22T17:31:28.307" v="21"/>
            <ac:spMkLst>
              <pc:docMk/>
              <pc:sldMasterMk cId="3438207253" sldId="2147483868"/>
              <pc:sldLayoutMk cId="1622583498" sldId="2147484577"/>
              <ac:spMk id="3" creationId="{CCD3B5E4-F8D8-4E56-8B0D-0ADE716A272A}"/>
            </ac:spMkLst>
          </pc:spChg>
          <pc:spChg chg="mod">
            <ac:chgData name="Szabo, Corinne" userId="5f91d2e2-9041-4610-ba2d-7466ed1f64a1" providerId="ADAL" clId="{F9DC8332-650A-4F6E-AD93-DF41712C7C1D}" dt="2024-07-22T17:31:28.307" v="21"/>
            <ac:spMkLst>
              <pc:docMk/>
              <pc:sldMasterMk cId="3438207253" sldId="2147483868"/>
              <pc:sldLayoutMk cId="1622583498" sldId="2147484577"/>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1622583498" sldId="2147484577"/>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1622583498" sldId="2147484577"/>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1622583498" sldId="2147484577"/>
              <ac:spMk id="17" creationId="{86553560-FC2D-4819-8FE6-AD3C932F8997}"/>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151947960" sldId="2147484578"/>
          </pc:sldLayoutMkLst>
          <pc:spChg chg="mod">
            <ac:chgData name="Szabo, Corinne" userId="5f91d2e2-9041-4610-ba2d-7466ed1f64a1" providerId="ADAL" clId="{F9DC8332-650A-4F6E-AD93-DF41712C7C1D}" dt="2024-07-22T17:31:28.307" v="21"/>
            <ac:spMkLst>
              <pc:docMk/>
              <pc:sldMasterMk cId="3438207253" sldId="2147483868"/>
              <pc:sldLayoutMk cId="3151947960" sldId="2147484578"/>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3151947960" sldId="2147484578"/>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3151947960" sldId="2147484578"/>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3151947960" sldId="2147484578"/>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3151947960" sldId="2147484578"/>
              <ac:spMk id="7" creationId="{A4EC7FDF-598C-4F07-B51E-EA09316920A7}"/>
            </ac:spMkLst>
          </pc:spChg>
          <pc:spChg chg="mod">
            <ac:chgData name="Szabo, Corinne" userId="5f91d2e2-9041-4610-ba2d-7466ed1f64a1" providerId="ADAL" clId="{F9DC8332-650A-4F6E-AD93-DF41712C7C1D}" dt="2024-07-22T17:31:28.307" v="21"/>
            <ac:spMkLst>
              <pc:docMk/>
              <pc:sldMasterMk cId="3438207253" sldId="2147483868"/>
              <pc:sldLayoutMk cId="3151947960" sldId="2147484578"/>
              <ac:spMk id="16" creationId="{F39A3DC5-89B3-42C4-A8B4-C3CFDDCE2DD0}"/>
            </ac:spMkLst>
          </pc:spChg>
          <pc:spChg chg="mod">
            <ac:chgData name="Szabo, Corinne" userId="5f91d2e2-9041-4610-ba2d-7466ed1f64a1" providerId="ADAL" clId="{F9DC8332-650A-4F6E-AD93-DF41712C7C1D}" dt="2024-07-22T17:31:28.307" v="21"/>
            <ac:spMkLst>
              <pc:docMk/>
              <pc:sldMasterMk cId="3438207253" sldId="2147483868"/>
              <pc:sldLayoutMk cId="3151947960" sldId="2147484578"/>
              <ac:spMk id="17" creationId="{67C29AE4-5AED-4CB2-BDAA-6B2B33C46C2A}"/>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74556678" sldId="2147484579"/>
          </pc:sldLayoutMkLst>
          <pc:spChg chg="mod">
            <ac:chgData name="Szabo, Corinne" userId="5f91d2e2-9041-4610-ba2d-7466ed1f64a1" providerId="ADAL" clId="{F9DC8332-650A-4F6E-AD93-DF41712C7C1D}" dt="2024-07-22T17:31:28.307" v="21"/>
            <ac:spMkLst>
              <pc:docMk/>
              <pc:sldMasterMk cId="3438207253" sldId="2147483868"/>
              <pc:sldLayoutMk cId="274556678" sldId="2147484579"/>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9" creationId="{00917691-819C-42A3-84E7-BB4918045702}"/>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10" creationId="{506018C7-23AA-4F16-9434-3E8994F999B4}"/>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17" creationId="{86553560-FC2D-4819-8FE6-AD3C932F8997}"/>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21" creationId="{34371AC1-D0FC-4409-8108-A028C655B206}"/>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22" creationId="{A0339B73-3DAE-4696-B2C4-AB2C296FFFBC}"/>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24" creationId="{179A2654-FFD1-4A53-A8A9-7AC651369696}"/>
            </ac:spMkLst>
          </pc:spChg>
          <pc:spChg chg="mod">
            <ac:chgData name="Szabo, Corinne" userId="5f91d2e2-9041-4610-ba2d-7466ed1f64a1" providerId="ADAL" clId="{F9DC8332-650A-4F6E-AD93-DF41712C7C1D}" dt="2024-07-22T17:31:28.307" v="21"/>
            <ac:spMkLst>
              <pc:docMk/>
              <pc:sldMasterMk cId="3438207253" sldId="2147483868"/>
              <pc:sldLayoutMk cId="274556678" sldId="2147484579"/>
              <ac:spMk id="25" creationId="{7F77922E-300B-4EC9-8500-DD45006C9BFD}"/>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797321031" sldId="2147484580"/>
          </pc:sldLayoutMkLst>
          <pc:spChg chg="mod">
            <ac:chgData name="Szabo, Corinne" userId="5f91d2e2-9041-4610-ba2d-7466ed1f64a1" providerId="ADAL" clId="{F9DC8332-650A-4F6E-AD93-DF41712C7C1D}" dt="2024-07-22T17:31:28.307" v="21"/>
            <ac:spMkLst>
              <pc:docMk/>
              <pc:sldMasterMk cId="3438207253" sldId="2147483868"/>
              <pc:sldLayoutMk cId="3797321031" sldId="2147484580"/>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9" creationId="{00917691-819C-42A3-84E7-BB4918045702}"/>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10" creationId="{506018C7-23AA-4F16-9434-3E8994F999B4}"/>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16" creationId="{18F6D520-00DF-4ED4-B209-E7BFD6156BD8}"/>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17" creationId="{86553560-FC2D-4819-8FE6-AD3C932F8997}"/>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18" creationId="{A147DE8D-8891-46EE-8AB0-11512AF1D40D}"/>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19" creationId="{32BF79EA-A7C6-4F74-BB66-78E7F6B5C12D}"/>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23" creationId="{8B35CDE5-EFFA-4FB5-9972-25A607658134}"/>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26" creationId="{7D204983-8312-4BC8-89D6-158DF6D0CE87}"/>
            </ac:spMkLst>
          </pc:spChg>
          <pc:spChg chg="mod">
            <ac:chgData name="Szabo, Corinne" userId="5f91d2e2-9041-4610-ba2d-7466ed1f64a1" providerId="ADAL" clId="{F9DC8332-650A-4F6E-AD93-DF41712C7C1D}" dt="2024-07-22T17:31:28.307" v="21"/>
            <ac:spMkLst>
              <pc:docMk/>
              <pc:sldMasterMk cId="3438207253" sldId="2147483868"/>
              <pc:sldLayoutMk cId="3797321031" sldId="2147484580"/>
              <ac:spMk id="27" creationId="{8E08D1D0-00B7-4E86-BCA0-5B0B59E3B89C}"/>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36384442" sldId="2147484581"/>
          </pc:sldLayoutMkLst>
          <pc:spChg chg="mod">
            <ac:chgData name="Szabo, Corinne" userId="5f91d2e2-9041-4610-ba2d-7466ed1f64a1" providerId="ADAL" clId="{F9DC8332-650A-4F6E-AD93-DF41712C7C1D}" dt="2024-07-22T17:31:28.307" v="21"/>
            <ac:spMkLst>
              <pc:docMk/>
              <pc:sldMasterMk cId="3438207253" sldId="2147483868"/>
              <pc:sldLayoutMk cId="336384442" sldId="2147484581"/>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336384442" sldId="2147484581"/>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336384442" sldId="2147484581"/>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336384442" sldId="2147484581"/>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336384442" sldId="2147484581"/>
              <ac:spMk id="16" creationId="{F39A3DC5-89B3-42C4-A8B4-C3CFDDCE2DD0}"/>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301528321" sldId="2147484582"/>
          </pc:sldLayoutMkLst>
          <pc:spChg chg="mod">
            <ac:chgData name="Szabo, Corinne" userId="5f91d2e2-9041-4610-ba2d-7466ed1f64a1" providerId="ADAL" clId="{F9DC8332-650A-4F6E-AD93-DF41712C7C1D}" dt="2024-07-22T17:31:28.307" v="21"/>
            <ac:spMkLst>
              <pc:docMk/>
              <pc:sldMasterMk cId="3438207253" sldId="2147483868"/>
              <pc:sldLayoutMk cId="2301528321" sldId="2147484582"/>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12" creationId="{C4EF0926-67AF-4DB0-99F3-9330034ADB73}"/>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13" creationId="{862C56E4-94D2-408E-838A-EB8784194808}"/>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14" creationId="{0796A941-953B-44B8-A773-4DBF7A300DCF}"/>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15" creationId="{E317AE3B-1B63-4F2A-9579-E46A9FB55127}"/>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16" creationId="{F39A3DC5-89B3-42C4-A8B4-C3CFDDCE2DD0}"/>
            </ac:spMkLst>
          </pc:spChg>
          <pc:spChg chg="mod">
            <ac:chgData name="Szabo, Corinne" userId="5f91d2e2-9041-4610-ba2d-7466ed1f64a1" providerId="ADAL" clId="{F9DC8332-650A-4F6E-AD93-DF41712C7C1D}" dt="2024-07-22T17:31:28.307" v="21"/>
            <ac:spMkLst>
              <pc:docMk/>
              <pc:sldMasterMk cId="3438207253" sldId="2147483868"/>
              <pc:sldLayoutMk cId="2301528321" sldId="2147484582"/>
              <ac:spMk id="17" creationId="{71B39A0B-88D1-44DD-97CA-2C93B4271CAF}"/>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349073949" sldId="2147484583"/>
          </pc:sldLayoutMkLst>
          <pc:spChg chg="mod">
            <ac:chgData name="Szabo, Corinne" userId="5f91d2e2-9041-4610-ba2d-7466ed1f64a1" providerId="ADAL" clId="{F9DC8332-650A-4F6E-AD93-DF41712C7C1D}" dt="2024-07-22T17:31:28.307" v="21"/>
            <ac:spMkLst>
              <pc:docMk/>
              <pc:sldMasterMk cId="3438207253" sldId="2147483868"/>
              <pc:sldLayoutMk cId="349073949" sldId="2147484583"/>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14" creationId="{0796A941-953B-44B8-A773-4DBF7A300DCF}"/>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16" creationId="{F39A3DC5-89B3-42C4-A8B4-C3CFDDCE2DD0}"/>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19" creationId="{D4246ADE-C6FF-4585-8C81-CEE798920FBC}"/>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0" creationId="{3FE71BC0-F0B4-40A9-ABB2-F67941299444}"/>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1" creationId="{91A5EA92-E74B-4861-B567-F18BF1540164}"/>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2" creationId="{907E0BA8-FFEA-4FB1-B4C0-01453686F4BF}"/>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3" creationId="{39107FBF-4646-4261-A4D4-FC2D8D20A015}"/>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4" creationId="{EB7DFCB0-3C5C-4020-9EDD-72A2DAC1975B}"/>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5" creationId="{9816E869-0BE9-4065-BBC7-E921D4F6506C}"/>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6" creationId="{4C984B48-2820-4944-B35B-5D17CFC12932}"/>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7" creationId="{43258035-61CF-4F7D-93C8-9E0ED7C5F6B0}"/>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8" creationId="{84BE6DFB-D6E8-4EDF-91CB-26857DBF77D2}"/>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29" creationId="{896BC8CC-D2CE-4E78-B439-3295FDBE20E4}"/>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30" creationId="{4732CA31-1DD1-4983-A5AF-B7D6679D6FD5}"/>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31" creationId="{E001E223-A28C-4D3C-89C6-72C4D507D4BB}"/>
            </ac:spMkLst>
          </pc:spChg>
          <pc:spChg chg="mod">
            <ac:chgData name="Szabo, Corinne" userId="5f91d2e2-9041-4610-ba2d-7466ed1f64a1" providerId="ADAL" clId="{F9DC8332-650A-4F6E-AD93-DF41712C7C1D}" dt="2024-07-22T17:31:28.307" v="21"/>
            <ac:spMkLst>
              <pc:docMk/>
              <pc:sldMasterMk cId="3438207253" sldId="2147483868"/>
              <pc:sldLayoutMk cId="349073949" sldId="2147484583"/>
              <ac:spMk id="32" creationId="{0B848C28-9BDB-47C1-A075-66DF181C851E}"/>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1947011983" sldId="2147484584"/>
          </pc:sldLayoutMkLst>
          <pc:spChg chg="mod">
            <ac:chgData name="Szabo, Corinne" userId="5f91d2e2-9041-4610-ba2d-7466ed1f64a1" providerId="ADAL" clId="{F9DC8332-650A-4F6E-AD93-DF41712C7C1D}" dt="2024-07-22T17:31:28.307" v="21"/>
            <ac:spMkLst>
              <pc:docMk/>
              <pc:sldMasterMk cId="3438207253" sldId="2147483868"/>
              <pc:sldLayoutMk cId="1947011983" sldId="2147484584"/>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1947011983" sldId="2147484584"/>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1947011983" sldId="2147484584"/>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1947011983" sldId="2147484584"/>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1947011983" sldId="2147484584"/>
              <ac:spMk id="9" creationId="{3035372B-E408-420D-8FFE-5FB47D86DDD2}"/>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792838557" sldId="2147484585"/>
          </pc:sldLayoutMkLst>
          <pc:spChg chg="mod">
            <ac:chgData name="Szabo, Corinne" userId="5f91d2e2-9041-4610-ba2d-7466ed1f64a1" providerId="ADAL" clId="{F9DC8332-650A-4F6E-AD93-DF41712C7C1D}" dt="2024-07-22T17:31:28.307" v="21"/>
            <ac:spMkLst>
              <pc:docMk/>
              <pc:sldMasterMk cId="3438207253" sldId="2147483868"/>
              <pc:sldLayoutMk cId="792838557" sldId="2147484585"/>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792838557" sldId="2147484585"/>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792838557" sldId="2147484585"/>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792838557" sldId="2147484585"/>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792838557" sldId="2147484585"/>
              <ac:spMk id="8" creationId="{1BFFB19F-AC58-4411-B63F-384CD8112D12}"/>
            </ac:spMkLst>
          </pc:spChg>
          <pc:spChg chg="mod">
            <ac:chgData name="Szabo, Corinne" userId="5f91d2e2-9041-4610-ba2d-7466ed1f64a1" providerId="ADAL" clId="{F9DC8332-650A-4F6E-AD93-DF41712C7C1D}" dt="2024-07-22T17:31:28.307" v="21"/>
            <ac:spMkLst>
              <pc:docMk/>
              <pc:sldMasterMk cId="3438207253" sldId="2147483868"/>
              <pc:sldLayoutMk cId="792838557" sldId="2147484585"/>
              <ac:spMk id="9" creationId="{3035372B-E408-420D-8FFE-5FB47D86DDD2}"/>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663670451" sldId="2147484586"/>
          </pc:sldLayoutMkLst>
          <pc:spChg chg="mod">
            <ac:chgData name="Szabo, Corinne" userId="5f91d2e2-9041-4610-ba2d-7466ed1f64a1" providerId="ADAL" clId="{F9DC8332-650A-4F6E-AD93-DF41712C7C1D}" dt="2024-07-22T17:31:28.307" v="21"/>
            <ac:spMkLst>
              <pc:docMk/>
              <pc:sldMasterMk cId="3438207253" sldId="2147483868"/>
              <pc:sldLayoutMk cId="2663670451" sldId="2147484586"/>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2663670451" sldId="2147484586"/>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2663670451" sldId="2147484586"/>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2663670451" sldId="2147484586"/>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2663670451" sldId="2147484586"/>
              <ac:spMk id="9" creationId="{3035372B-E408-420D-8FFE-5FB47D86DDD2}"/>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1602445972" sldId="2147484587"/>
          </pc:sldLayoutMkLst>
          <pc:spChg chg="mod">
            <ac:chgData name="Szabo, Corinne" userId="5f91d2e2-9041-4610-ba2d-7466ed1f64a1" providerId="ADAL" clId="{F9DC8332-650A-4F6E-AD93-DF41712C7C1D}" dt="2024-07-22T17:31:28.307" v="21"/>
            <ac:spMkLst>
              <pc:docMk/>
              <pc:sldMasterMk cId="3438207253" sldId="2147483868"/>
              <pc:sldLayoutMk cId="1602445972" sldId="2147484587"/>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9" creationId="{3035372B-E408-420D-8FFE-5FB47D86DDD2}"/>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16" creationId="{C8B2FA79-3DD0-4FA8-90A0-E12843042023}"/>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17" creationId="{632C5D7A-5397-489F-85DC-D510FC2FB9CD}"/>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18" creationId="{9EF16965-8616-4BCC-8FA2-F06C275B591F}"/>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19" creationId="{8EFF5283-0C90-4C63-8A76-2492F32ADED3}"/>
            </ac:spMkLst>
          </pc:spChg>
          <pc:spChg chg="mod">
            <ac:chgData name="Szabo, Corinne" userId="5f91d2e2-9041-4610-ba2d-7466ed1f64a1" providerId="ADAL" clId="{F9DC8332-650A-4F6E-AD93-DF41712C7C1D}" dt="2024-07-22T17:31:28.307" v="21"/>
            <ac:spMkLst>
              <pc:docMk/>
              <pc:sldMasterMk cId="3438207253" sldId="2147483868"/>
              <pc:sldLayoutMk cId="1602445972" sldId="2147484587"/>
              <ac:spMk id="20" creationId="{77E842E8-27EA-44B3-9C76-92DB6EDC1A9F}"/>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160399936" sldId="2147484588"/>
          </pc:sldLayoutMkLst>
          <pc:spChg chg="mod">
            <ac:chgData name="Szabo, Corinne" userId="5f91d2e2-9041-4610-ba2d-7466ed1f64a1" providerId="ADAL" clId="{F9DC8332-650A-4F6E-AD93-DF41712C7C1D}" dt="2024-07-22T17:31:28.307" v="21"/>
            <ac:spMkLst>
              <pc:docMk/>
              <pc:sldMasterMk cId="3438207253" sldId="2147483868"/>
              <pc:sldLayoutMk cId="160399936" sldId="2147484588"/>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9" creationId="{3C1D3E4B-0D64-40F0-AC79-888818F0218E}"/>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0" creationId="{2EEF24B0-86DB-4133-A52A-91860B0B6B92}"/>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1" creationId="{E70D6935-7D5D-4F8A-B1A0-C2DE8D9BC0D3}"/>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2" creationId="{AFF59E31-7EC3-4842-9145-18C5D598D3FA}"/>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3" creationId="{E98825BD-BD06-4FF8-887D-04AD09F6BFB0}"/>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4" creationId="{B0B072B7-919F-4A5F-8E73-32A3494B9B0B}"/>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5" creationId="{3C85046A-F0E3-463A-A327-F0914544B359}"/>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6" creationId="{9A2755F2-3F8B-4F01-B60A-9E4A871E2785}"/>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7" creationId="{E295763F-8C67-4990-B9F8-6C1BEB29BBEA}"/>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8" creationId="{10628B55-B8EE-4E71-8015-9BA5618CAA6D}"/>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19" creationId="{913BD82C-0630-4AD8-A01D-E9A4806B1649}"/>
            </ac:spMkLst>
          </pc:spChg>
          <pc:spChg chg="mod">
            <ac:chgData name="Szabo, Corinne" userId="5f91d2e2-9041-4610-ba2d-7466ed1f64a1" providerId="ADAL" clId="{F9DC8332-650A-4F6E-AD93-DF41712C7C1D}" dt="2024-07-22T17:31:28.307" v="21"/>
            <ac:spMkLst>
              <pc:docMk/>
              <pc:sldMasterMk cId="3438207253" sldId="2147483868"/>
              <pc:sldLayoutMk cId="160399936" sldId="2147484588"/>
              <ac:spMk id="20" creationId="{907D664B-7697-4738-B049-760E0362D547}"/>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2770912710" sldId="2147484589"/>
          </pc:sldLayoutMkLst>
          <pc:spChg chg="mod">
            <ac:chgData name="Szabo, Corinne" userId="5f91d2e2-9041-4610-ba2d-7466ed1f64a1" providerId="ADAL" clId="{F9DC8332-650A-4F6E-AD93-DF41712C7C1D}" dt="2024-07-22T17:31:28.307" v="21"/>
            <ac:spMkLst>
              <pc:docMk/>
              <pc:sldMasterMk cId="3438207253" sldId="2147483868"/>
              <pc:sldLayoutMk cId="2770912710" sldId="2147484589"/>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7" creationId="{E49FC8AB-615B-4FC8-B835-C931DAD57CE5}"/>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0" creationId="{2EEF24B0-86DB-4133-A52A-91860B0B6B92}"/>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1" creationId="{E70D6935-7D5D-4F8A-B1A0-C2DE8D9BC0D3}"/>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3" creationId="{E98825BD-BD06-4FF8-887D-04AD09F6BFB0}"/>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4" creationId="{B0B072B7-919F-4A5F-8E73-32A3494B9B0B}"/>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6" creationId="{9A2755F2-3F8B-4F01-B60A-9E4A871E2785}"/>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7" creationId="{E295763F-8C67-4990-B9F8-6C1BEB29BBEA}"/>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19" creationId="{913BD82C-0630-4AD8-A01D-E9A4806B1649}"/>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20" creationId="{907D664B-7697-4738-B049-760E0362D547}"/>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22" creationId="{E4274060-1F12-487F-9CE2-BCD7086CBCE8}"/>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26" creationId="{0F273126-DBF1-443F-A8F3-03725919BE12}"/>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27" creationId="{C24B6AA0-79F3-4590-8333-C9978F312AB6}"/>
            </ac:spMkLst>
          </pc:spChg>
          <pc:spChg chg="mod">
            <ac:chgData name="Szabo, Corinne" userId="5f91d2e2-9041-4610-ba2d-7466ed1f64a1" providerId="ADAL" clId="{F9DC8332-650A-4F6E-AD93-DF41712C7C1D}" dt="2024-07-22T17:31:28.307" v="21"/>
            <ac:spMkLst>
              <pc:docMk/>
              <pc:sldMasterMk cId="3438207253" sldId="2147483868"/>
              <pc:sldLayoutMk cId="2770912710" sldId="2147484589"/>
              <ac:spMk id="28" creationId="{71B63FD7-F875-41F1-9D8F-4C0EF37DDA06}"/>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515741859" sldId="2147484590"/>
          </pc:sldLayoutMkLst>
          <pc:spChg chg="mod">
            <ac:chgData name="Szabo, Corinne" userId="5f91d2e2-9041-4610-ba2d-7466ed1f64a1" providerId="ADAL" clId="{F9DC8332-650A-4F6E-AD93-DF41712C7C1D}" dt="2024-07-22T17:31:28.307" v="21"/>
            <ac:spMkLst>
              <pc:docMk/>
              <pc:sldMasterMk cId="3438207253" sldId="2147483868"/>
              <pc:sldLayoutMk cId="515741859" sldId="2147484590"/>
              <ac:spMk id="2" creationId="{0B358BDB-BF07-4C04-BA3F-88BF71C7A70F}"/>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 creationId="{B1A16982-0955-4E60-B17F-26B37AF4499E}"/>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4" creationId="{1C890CFD-F1B2-481D-A9E8-E1CCAFE2E476}"/>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5" creationId="{ABDEA2D5-8CE6-4B1B-AAA6-EE330F2B6C88}"/>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10" creationId="{2EEF24B0-86DB-4133-A52A-91860B0B6B92}"/>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23" creationId="{953DA66B-137D-47B6-8DA7-27E06FF25956}"/>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24" creationId="{2D68E202-E76F-464A-B0C2-1E13376D70A6}"/>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25" creationId="{792B6F82-889B-4AF6-A746-F085DEB0873D}"/>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29" creationId="{137812CF-3B39-4CF8-8941-3C63B8EF9864}"/>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0" creationId="{0767E903-B71B-42DA-A479-12D005B44640}"/>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1" creationId="{9C127890-EEE2-4190-84FC-3C5E7F0A79DE}"/>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2" creationId="{7FC3F0A9-74C0-49CE-A6A2-C69FA56C7D19}"/>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3" creationId="{3A2EB497-5B25-4BA3-B39F-7AB104121238}"/>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4" creationId="{E666DFFB-216E-4DA9-B075-9D8F40308A94}"/>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5" creationId="{7F7D30A5-A4AF-488C-9EC9-A0CA69CF7013}"/>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6" creationId="{B3C49AA5-0A02-444B-BAA7-69D15A857167}"/>
            </ac:spMkLst>
          </pc:spChg>
          <pc:spChg chg="mod">
            <ac:chgData name="Szabo, Corinne" userId="5f91d2e2-9041-4610-ba2d-7466ed1f64a1" providerId="ADAL" clId="{F9DC8332-650A-4F6E-AD93-DF41712C7C1D}" dt="2024-07-22T17:31:28.307" v="21"/>
            <ac:spMkLst>
              <pc:docMk/>
              <pc:sldMasterMk cId="3438207253" sldId="2147483868"/>
              <pc:sldLayoutMk cId="515741859" sldId="2147484590"/>
              <ac:spMk id="37" creationId="{287F8DFF-A1F2-4618-A5A2-364AEEA76F47}"/>
            </ac:spMkLst>
          </pc:spChg>
        </pc:sldLayoutChg>
        <pc:sldLayoutChg chg="mod ord">
          <pc:chgData name="Szabo, Corinne" userId="5f91d2e2-9041-4610-ba2d-7466ed1f64a1" providerId="ADAL" clId="{F9DC8332-650A-4F6E-AD93-DF41712C7C1D}" dt="2024-07-22T17:31:28.307" v="21"/>
          <pc:sldLayoutMkLst>
            <pc:docMk/>
            <pc:sldMasterMk cId="3438207253" sldId="2147483868"/>
            <pc:sldLayoutMk cId="2473420908" sldId="2147484591"/>
          </pc:sldLayoutMkLst>
        </pc:sldLayoutChg>
        <pc:sldLayoutChg chg="mod ord">
          <pc:chgData name="Szabo, Corinne" userId="5f91d2e2-9041-4610-ba2d-7466ed1f64a1" providerId="ADAL" clId="{F9DC8332-650A-4F6E-AD93-DF41712C7C1D}" dt="2024-07-22T17:31:28.307" v="21"/>
          <pc:sldLayoutMkLst>
            <pc:docMk/>
            <pc:sldMasterMk cId="3438207253" sldId="2147483868"/>
            <pc:sldLayoutMk cId="4005411084" sldId="2147484592"/>
          </pc:sldLayoutMkLst>
        </pc:sldLayoutChg>
        <pc:sldLayoutChg chg="modSp mod ord">
          <pc:chgData name="Szabo, Corinne" userId="5f91d2e2-9041-4610-ba2d-7466ed1f64a1" providerId="ADAL" clId="{F9DC8332-650A-4F6E-AD93-DF41712C7C1D}" dt="2024-07-22T17:31:28.307" v="21"/>
          <pc:sldLayoutMkLst>
            <pc:docMk/>
            <pc:sldMasterMk cId="3438207253" sldId="2147483868"/>
            <pc:sldLayoutMk cId="518047155" sldId="2147484593"/>
          </pc:sldLayoutMkLst>
          <pc:spChg chg="mod">
            <ac:chgData name="Szabo, Corinne" userId="5f91d2e2-9041-4610-ba2d-7466ed1f64a1" providerId="ADAL" clId="{F9DC8332-650A-4F6E-AD93-DF41712C7C1D}" dt="2024-07-22T17:31:28.307" v="21"/>
            <ac:spMkLst>
              <pc:docMk/>
              <pc:sldMasterMk cId="3438207253" sldId="2147483868"/>
              <pc:sldLayoutMk cId="518047155" sldId="2147484593"/>
              <ac:spMk id="10" creationId="{F4458531-4DF4-4B04-8685-64A0979C1949}"/>
            </ac:spMkLst>
          </pc:spChg>
          <pc:spChg chg="mod">
            <ac:chgData name="Szabo, Corinne" userId="5f91d2e2-9041-4610-ba2d-7466ed1f64a1" providerId="ADAL" clId="{F9DC8332-650A-4F6E-AD93-DF41712C7C1D}" dt="2024-07-22T17:31:28.307" v="21"/>
            <ac:spMkLst>
              <pc:docMk/>
              <pc:sldMasterMk cId="3438207253" sldId="2147483868"/>
              <pc:sldLayoutMk cId="518047155" sldId="2147484593"/>
              <ac:spMk id="11" creationId="{C3F5D30B-684A-44B7-B222-1EACC91C74F2}"/>
            </ac:spMkLst>
          </pc:spChg>
          <pc:spChg chg="mod">
            <ac:chgData name="Szabo, Corinne" userId="5f91d2e2-9041-4610-ba2d-7466ed1f64a1" providerId="ADAL" clId="{F9DC8332-650A-4F6E-AD93-DF41712C7C1D}" dt="2024-07-22T17:31:28.307" v="21"/>
            <ac:spMkLst>
              <pc:docMk/>
              <pc:sldMasterMk cId="3438207253" sldId="2147483868"/>
              <pc:sldLayoutMk cId="518047155" sldId="2147484593"/>
              <ac:spMk id="13" creationId="{C1954307-1534-478B-94B8-FE9E1F84DE3F}"/>
            </ac:spMkLst>
          </pc:spChg>
        </pc:sldLayoutChg>
        <pc:sldLayoutChg chg="modSp mod ord">
          <pc:chgData name="Szabo, Corinne" userId="5f91d2e2-9041-4610-ba2d-7466ed1f64a1" providerId="ADAL" clId="{F9DC8332-650A-4F6E-AD93-DF41712C7C1D}" dt="2024-07-22T17:31:28.307" v="21"/>
          <pc:sldLayoutMkLst>
            <pc:docMk/>
            <pc:sldMasterMk cId="3438207253" sldId="2147483868"/>
            <pc:sldLayoutMk cId="1600425485" sldId="2147484594"/>
          </pc:sldLayoutMkLst>
          <pc:spChg chg="mod">
            <ac:chgData name="Szabo, Corinne" userId="5f91d2e2-9041-4610-ba2d-7466ed1f64a1" providerId="ADAL" clId="{F9DC8332-650A-4F6E-AD93-DF41712C7C1D}" dt="2024-07-22T17:31:28.307" v="21"/>
            <ac:spMkLst>
              <pc:docMk/>
              <pc:sldMasterMk cId="3438207253" sldId="2147483868"/>
              <pc:sldLayoutMk cId="1600425485" sldId="2147484594"/>
              <ac:spMk id="10" creationId="{F4458531-4DF4-4B04-8685-64A0979C1949}"/>
            </ac:spMkLst>
          </pc:spChg>
        </pc:sldLayoutChg>
        <pc:sldLayoutChg chg="mod ord">
          <pc:chgData name="Szabo, Corinne" userId="5f91d2e2-9041-4610-ba2d-7466ed1f64a1" providerId="ADAL" clId="{F9DC8332-650A-4F6E-AD93-DF41712C7C1D}" dt="2024-07-22T17:31:28.307" v="21"/>
          <pc:sldLayoutMkLst>
            <pc:docMk/>
            <pc:sldMasterMk cId="3438207253" sldId="2147483868"/>
            <pc:sldLayoutMk cId="2040782666" sldId="2147484595"/>
          </pc:sldLayoutMkLst>
        </pc:sldLayoutChg>
        <pc:sldLayoutChg chg="modSp mod ord">
          <pc:chgData name="Szabo, Corinne" userId="5f91d2e2-9041-4610-ba2d-7466ed1f64a1" providerId="ADAL" clId="{F9DC8332-650A-4F6E-AD93-DF41712C7C1D}" dt="2024-07-22T17:31:28.307" v="21"/>
          <pc:sldLayoutMkLst>
            <pc:docMk/>
            <pc:sldMasterMk cId="3438207253" sldId="2147483868"/>
            <pc:sldLayoutMk cId="1048198627" sldId="2147484596"/>
          </pc:sldLayoutMkLst>
          <pc:spChg chg="mod">
            <ac:chgData name="Szabo, Corinne" userId="5f91d2e2-9041-4610-ba2d-7466ed1f64a1" providerId="ADAL" clId="{F9DC8332-650A-4F6E-AD93-DF41712C7C1D}" dt="2024-07-22T17:31:28.307" v="21"/>
            <ac:spMkLst>
              <pc:docMk/>
              <pc:sldMasterMk cId="3438207253" sldId="2147483868"/>
              <pc:sldLayoutMk cId="1048198627" sldId="2147484596"/>
              <ac:spMk id="5" creationId="{58ED9BC3-51F3-40C3-B56A-AB6C7524AF2F}"/>
            </ac:spMkLst>
          </pc:spChg>
        </pc:sldLayoutChg>
        <pc:sldLayoutChg chg="modSp del mod ord">
          <pc:chgData name="Szabo, Corinne" userId="5f91d2e2-9041-4610-ba2d-7466ed1f64a1" providerId="ADAL" clId="{F9DC8332-650A-4F6E-AD93-DF41712C7C1D}" dt="2024-07-22T17:44:21.067" v="166" actId="47"/>
          <pc:sldLayoutMkLst>
            <pc:docMk/>
            <pc:sldMasterMk cId="3438207253" sldId="2147483868"/>
            <pc:sldLayoutMk cId="293059226" sldId="2147484597"/>
          </pc:sldLayoutMkLst>
          <pc:spChg chg="mod">
            <ac:chgData name="Szabo, Corinne" userId="5f91d2e2-9041-4610-ba2d-7466ed1f64a1" providerId="ADAL" clId="{F9DC8332-650A-4F6E-AD93-DF41712C7C1D}" dt="2024-07-22T17:31:28.307" v="21"/>
            <ac:spMkLst>
              <pc:docMk/>
              <pc:sldMasterMk cId="3438207253" sldId="2147483868"/>
              <pc:sldLayoutMk cId="293059226" sldId="2147484597"/>
              <ac:spMk id="2"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93059226" sldId="2147484597"/>
              <ac:spMk id="3"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93059226" sldId="2147484597"/>
              <ac:spMk id="7"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93059226" sldId="2147484597"/>
              <ac:spMk id="10"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293059226" sldId="2147484597"/>
              <ac:spMk id="12" creationId="{00000000-0000-0000-0000-000000000000}"/>
            </ac:spMkLst>
          </pc:spChg>
        </pc:sldLayoutChg>
        <pc:sldLayoutChg chg="modSp del mod ord">
          <pc:chgData name="Szabo, Corinne" userId="5f91d2e2-9041-4610-ba2d-7466ed1f64a1" providerId="ADAL" clId="{F9DC8332-650A-4F6E-AD93-DF41712C7C1D}" dt="2024-07-22T17:44:24.469" v="168" actId="47"/>
          <pc:sldLayoutMkLst>
            <pc:docMk/>
            <pc:sldMasterMk cId="3438207253" sldId="2147483868"/>
            <pc:sldLayoutMk cId="1914996115" sldId="2147484598"/>
          </pc:sldLayoutMkLst>
          <pc:spChg chg="mod">
            <ac:chgData name="Szabo, Corinne" userId="5f91d2e2-9041-4610-ba2d-7466ed1f64a1" providerId="ADAL" clId="{F9DC8332-650A-4F6E-AD93-DF41712C7C1D}" dt="2024-07-22T17:31:28.307" v="21"/>
            <ac:spMkLst>
              <pc:docMk/>
              <pc:sldMasterMk cId="3438207253" sldId="2147483868"/>
              <pc:sldLayoutMk cId="1914996115" sldId="2147484598"/>
              <ac:spMk id="2"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1914996115" sldId="2147484598"/>
              <ac:spMk id="6"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1914996115" sldId="2147484598"/>
              <ac:spMk id="7" creationId="{00000000-0000-0000-0000-000000000000}"/>
            </ac:spMkLst>
          </pc:spChg>
          <pc:spChg chg="mod">
            <ac:chgData name="Szabo, Corinne" userId="5f91d2e2-9041-4610-ba2d-7466ed1f64a1" providerId="ADAL" clId="{F9DC8332-650A-4F6E-AD93-DF41712C7C1D}" dt="2024-07-22T17:31:28.307" v="21"/>
            <ac:spMkLst>
              <pc:docMk/>
              <pc:sldMasterMk cId="3438207253" sldId="2147483868"/>
              <pc:sldLayoutMk cId="1914996115" sldId="2147484598"/>
              <ac:spMk id="8" creationId="{00000000-0000-0000-0000-000000000000}"/>
            </ac:spMkLst>
          </pc:spChg>
        </pc:sldLayoutChg>
      </pc:sldMasterChg>
      <pc:sldMasterChg chg="del delSldLayout">
        <pc:chgData name="Szabo, Corinne" userId="5f91d2e2-9041-4610-ba2d-7466ed1f64a1" providerId="ADAL" clId="{F9DC8332-650A-4F6E-AD93-DF41712C7C1D}" dt="2024-07-22T17:31:28.148" v="13"/>
        <pc:sldMasterMkLst>
          <pc:docMk/>
          <pc:sldMasterMk cId="1771164794" sldId="2147483900"/>
        </pc:sldMasterMkLst>
        <pc:sldLayoutChg chg="del">
          <pc:chgData name="Szabo, Corinne" userId="5f91d2e2-9041-4610-ba2d-7466ed1f64a1" providerId="ADAL" clId="{F9DC8332-650A-4F6E-AD93-DF41712C7C1D}" dt="2024-07-22T17:31:28.148" v="13"/>
          <pc:sldLayoutMkLst>
            <pc:docMk/>
            <pc:sldMasterMk cId="1771164794" sldId="2147483900"/>
            <pc:sldLayoutMk cId="370155484" sldId="2147483901"/>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837508672" sldId="2147483902"/>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801725011" sldId="2147483903"/>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245248566" sldId="2147483904"/>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4273218636" sldId="2147483905"/>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786166106" sldId="2147483906"/>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432403661" sldId="2147483907"/>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259546048" sldId="2147483908"/>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566024672" sldId="2147483909"/>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550637729" sldId="2147483910"/>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629392271" sldId="2147483911"/>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52243277" sldId="2147483912"/>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107859579" sldId="2147483913"/>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906966805" sldId="2147483914"/>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645752844" sldId="2147483915"/>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174223103" sldId="2147483916"/>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44502844" sldId="2147483917"/>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35900693" sldId="2147483918"/>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658668680" sldId="2147483919"/>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823061029" sldId="2147483920"/>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451876573" sldId="2147483921"/>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893661314" sldId="2147483922"/>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085083878" sldId="2147483923"/>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766152989" sldId="2147483924"/>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77167137" sldId="2147483925"/>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128401025" sldId="2147483926"/>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3208575405" sldId="2147483927"/>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088498272" sldId="2147483928"/>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058225836" sldId="2147483929"/>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592561564" sldId="2147483930"/>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796517090" sldId="2147483931"/>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2776320148" sldId="2147483932"/>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394052708" sldId="2147483933"/>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1117013260" sldId="2147483934"/>
          </pc:sldLayoutMkLst>
        </pc:sldLayoutChg>
        <pc:sldLayoutChg chg="del">
          <pc:chgData name="Szabo, Corinne" userId="5f91d2e2-9041-4610-ba2d-7466ed1f64a1" providerId="ADAL" clId="{F9DC8332-650A-4F6E-AD93-DF41712C7C1D}" dt="2024-07-22T17:31:28.148" v="13"/>
          <pc:sldLayoutMkLst>
            <pc:docMk/>
            <pc:sldMasterMk cId="1771164794" sldId="2147483900"/>
            <pc:sldLayoutMk cId="4255928166" sldId="2147483935"/>
          </pc:sldLayoutMkLst>
        </pc:sldLayoutChg>
      </pc:sldMasterChg>
      <pc:sldMasterChg chg="del delSldLayout">
        <pc:chgData name="Szabo, Corinne" userId="5f91d2e2-9041-4610-ba2d-7466ed1f64a1" providerId="ADAL" clId="{F9DC8332-650A-4F6E-AD93-DF41712C7C1D}" dt="2024-07-22T17:31:28.151" v="14"/>
        <pc:sldMasterMkLst>
          <pc:docMk/>
          <pc:sldMasterMk cId="3405650726" sldId="2147483936"/>
        </pc:sldMasterMkLst>
        <pc:sldLayoutChg chg="del">
          <pc:chgData name="Szabo, Corinne" userId="5f91d2e2-9041-4610-ba2d-7466ed1f64a1" providerId="ADAL" clId="{F9DC8332-650A-4F6E-AD93-DF41712C7C1D}" dt="2024-07-22T17:31:28.151" v="14"/>
          <pc:sldLayoutMkLst>
            <pc:docMk/>
            <pc:sldMasterMk cId="3405650726" sldId="2147483936"/>
            <pc:sldLayoutMk cId="2318781459" sldId="2147483937"/>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075832328" sldId="2147483938"/>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585806008" sldId="2147483939"/>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4208930037" sldId="2147483940"/>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300554518" sldId="2147483941"/>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588985342" sldId="2147483942"/>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335634166" sldId="2147483943"/>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4020283272" sldId="2147483944"/>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016615595" sldId="2147483945"/>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342014482" sldId="2147483946"/>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331153735" sldId="2147483947"/>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704472761" sldId="2147483948"/>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144109152" sldId="2147483949"/>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559873650" sldId="2147483950"/>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957597646" sldId="2147483951"/>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243482770" sldId="2147483952"/>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645414241" sldId="2147483953"/>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4269128719" sldId="2147483954"/>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960445964" sldId="2147483955"/>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521229557" sldId="2147483956"/>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096622928" sldId="2147483957"/>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690920639" sldId="2147483958"/>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718516980" sldId="2147483959"/>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21394338" sldId="2147483960"/>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322795647" sldId="2147483961"/>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914800912" sldId="2147483962"/>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949126448" sldId="2147483963"/>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663573021" sldId="2147483964"/>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292903389" sldId="2147483965"/>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4273050157" sldId="2147483966"/>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600045122" sldId="2147483967"/>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1251520102" sldId="2147483968"/>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3278250040" sldId="2147483969"/>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520463700" sldId="2147483970"/>
          </pc:sldLayoutMkLst>
        </pc:sldLayoutChg>
        <pc:sldLayoutChg chg="del">
          <pc:chgData name="Szabo, Corinne" userId="5f91d2e2-9041-4610-ba2d-7466ed1f64a1" providerId="ADAL" clId="{F9DC8332-650A-4F6E-AD93-DF41712C7C1D}" dt="2024-07-22T17:31:28.151" v="14"/>
          <pc:sldLayoutMkLst>
            <pc:docMk/>
            <pc:sldMasterMk cId="3405650726" sldId="2147483936"/>
            <pc:sldLayoutMk cId="216481333" sldId="2147483971"/>
          </pc:sldLayoutMkLst>
        </pc:sldLayoutChg>
      </pc:sldMasterChg>
      <pc:sldMasterChg chg="del delSldLayout">
        <pc:chgData name="Szabo, Corinne" userId="5f91d2e2-9041-4610-ba2d-7466ed1f64a1" providerId="ADAL" clId="{F9DC8332-650A-4F6E-AD93-DF41712C7C1D}" dt="2024-07-22T17:31:28.154" v="15"/>
        <pc:sldMasterMkLst>
          <pc:docMk/>
          <pc:sldMasterMk cId="1468055597" sldId="2147483972"/>
        </pc:sldMasterMkLst>
        <pc:sldLayoutChg chg="del">
          <pc:chgData name="Szabo, Corinne" userId="5f91d2e2-9041-4610-ba2d-7466ed1f64a1" providerId="ADAL" clId="{F9DC8332-650A-4F6E-AD93-DF41712C7C1D}" dt="2024-07-22T17:31:28.154" v="15"/>
          <pc:sldLayoutMkLst>
            <pc:docMk/>
            <pc:sldMasterMk cId="1468055597" sldId="2147483972"/>
            <pc:sldLayoutMk cId="1681243578" sldId="2147483973"/>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510465206" sldId="2147483974"/>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1749665625" sldId="2147483975"/>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825528645" sldId="2147483976"/>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658165155" sldId="2147483977"/>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1159047578" sldId="2147483978"/>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149461840" sldId="2147483979"/>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01218819" sldId="2147483980"/>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55300539" sldId="2147483981"/>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411123263" sldId="2147483982"/>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4193363757" sldId="2147483983"/>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103811795" sldId="2147483984"/>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48586387" sldId="2147483985"/>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209637311" sldId="2147483986"/>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521853512" sldId="2147483987"/>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49001718" sldId="2147483988"/>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864140892" sldId="2147483989"/>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140140705" sldId="2147483990"/>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574420399" sldId="2147483991"/>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114028430" sldId="2147483992"/>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271974446" sldId="2147483993"/>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33767854" sldId="2147483994"/>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758200913" sldId="2147483995"/>
          </pc:sldLayoutMkLst>
        </pc:sldLayoutChg>
        <pc:sldLayoutChg chg="del">
          <pc:chgData name="Szabo, Corinne" userId="5f91d2e2-9041-4610-ba2d-7466ed1f64a1" providerId="ADAL" clId="{F9DC8332-650A-4F6E-AD93-DF41712C7C1D}" dt="2024-07-22T17:31:28.154" v="15"/>
          <pc:sldLayoutMkLst>
            <pc:docMk/>
            <pc:sldMasterMk cId="1468055597" sldId="2147483972"/>
            <pc:sldLayoutMk cId="2459070438" sldId="2147483996"/>
          </pc:sldLayoutMkLst>
        </pc:sldLayoutChg>
      </pc:sldMasterChg>
      <pc:sldMasterChg chg="del delSldLayout">
        <pc:chgData name="Szabo, Corinne" userId="5f91d2e2-9041-4610-ba2d-7466ed1f64a1" providerId="ADAL" clId="{F9DC8332-650A-4F6E-AD93-DF41712C7C1D}" dt="2024-07-22T17:31:28.134" v="9"/>
        <pc:sldMasterMkLst>
          <pc:docMk/>
          <pc:sldMasterMk cId="1620838053" sldId="2147484112"/>
        </pc:sldMasterMkLst>
        <pc:sldLayoutChg chg="del">
          <pc:chgData name="Szabo, Corinne" userId="5f91d2e2-9041-4610-ba2d-7466ed1f64a1" providerId="ADAL" clId="{F9DC8332-650A-4F6E-AD93-DF41712C7C1D}" dt="2024-07-22T17:31:28.134" v="9"/>
          <pc:sldLayoutMkLst>
            <pc:docMk/>
            <pc:sldMasterMk cId="1620838053" sldId="2147484112"/>
            <pc:sldLayoutMk cId="1068579955" sldId="2147484113"/>
          </pc:sldLayoutMkLst>
        </pc:sldLayoutChg>
        <pc:sldLayoutChg chg="del">
          <pc:chgData name="Szabo, Corinne" userId="5f91d2e2-9041-4610-ba2d-7466ed1f64a1" providerId="ADAL" clId="{F9DC8332-650A-4F6E-AD93-DF41712C7C1D}" dt="2024-07-22T17:31:28.134" v="9"/>
          <pc:sldLayoutMkLst>
            <pc:docMk/>
            <pc:sldMasterMk cId="1620838053" sldId="2147484112"/>
            <pc:sldLayoutMk cId="1147415227" sldId="2147484114"/>
          </pc:sldLayoutMkLst>
        </pc:sldLayoutChg>
        <pc:sldLayoutChg chg="del">
          <pc:chgData name="Szabo, Corinne" userId="5f91d2e2-9041-4610-ba2d-7466ed1f64a1" providerId="ADAL" clId="{F9DC8332-650A-4F6E-AD93-DF41712C7C1D}" dt="2024-07-22T17:31:28.134" v="9"/>
          <pc:sldLayoutMkLst>
            <pc:docMk/>
            <pc:sldMasterMk cId="1620838053" sldId="2147484112"/>
            <pc:sldLayoutMk cId="3083671577" sldId="2147484115"/>
          </pc:sldLayoutMkLst>
        </pc:sldLayoutChg>
        <pc:sldLayoutChg chg="del">
          <pc:chgData name="Szabo, Corinne" userId="5f91d2e2-9041-4610-ba2d-7466ed1f64a1" providerId="ADAL" clId="{F9DC8332-650A-4F6E-AD93-DF41712C7C1D}" dt="2024-07-22T17:31:28.134" v="9"/>
          <pc:sldLayoutMkLst>
            <pc:docMk/>
            <pc:sldMasterMk cId="1620838053" sldId="2147484112"/>
            <pc:sldLayoutMk cId="1828012912" sldId="2147484116"/>
          </pc:sldLayoutMkLst>
        </pc:sldLayoutChg>
      </pc:sldMasterChg>
      <pc:sldMasterChg chg="modSldLayout sldLayoutOrd">
        <pc:chgData name="Szabo, Corinne" userId="5f91d2e2-9041-4610-ba2d-7466ed1f64a1" providerId="ADAL" clId="{F9DC8332-650A-4F6E-AD93-DF41712C7C1D}" dt="2024-07-22T17:31:28.284" v="19"/>
        <pc:sldMasterMkLst>
          <pc:docMk/>
          <pc:sldMasterMk cId="177247593" sldId="2147484117"/>
        </pc:sldMasterMkLst>
        <pc:sldLayoutChg chg="modSp mod ord">
          <pc:chgData name="Szabo, Corinne" userId="5f91d2e2-9041-4610-ba2d-7466ed1f64a1" providerId="ADAL" clId="{F9DC8332-650A-4F6E-AD93-DF41712C7C1D}" dt="2024-07-22T17:31:28.284" v="19"/>
          <pc:sldLayoutMkLst>
            <pc:docMk/>
            <pc:sldMasterMk cId="177247593" sldId="2147484117"/>
            <pc:sldLayoutMk cId="22398549" sldId="2147483735"/>
          </pc:sldLayoutMkLst>
          <pc:spChg chg="mod">
            <ac:chgData name="Szabo, Corinne" userId="5f91d2e2-9041-4610-ba2d-7466ed1f64a1" providerId="ADAL" clId="{F9DC8332-650A-4F6E-AD93-DF41712C7C1D}" dt="2024-07-22T17:31:28.284" v="19"/>
            <ac:spMkLst>
              <pc:docMk/>
              <pc:sldMasterMk cId="177247593" sldId="2147484117"/>
              <pc:sldLayoutMk cId="22398549" sldId="2147483735"/>
              <ac:spMk id="5" creationId="{C50FC742-30BA-4EBF-B918-64E70CE31386}"/>
            </ac:spMkLst>
          </pc:spChg>
          <pc:spChg chg="mod">
            <ac:chgData name="Szabo, Corinne" userId="5f91d2e2-9041-4610-ba2d-7466ed1f64a1" providerId="ADAL" clId="{F9DC8332-650A-4F6E-AD93-DF41712C7C1D}" dt="2024-07-22T17:31:28.284" v="19"/>
            <ac:spMkLst>
              <pc:docMk/>
              <pc:sldMasterMk cId="177247593" sldId="2147484117"/>
              <pc:sldLayoutMk cId="22398549" sldId="2147483735"/>
              <ac:spMk id="6" creationId="{8975AFA0-73A1-4A22-8744-31EC74F4D0D9}"/>
            </ac:spMkLst>
          </pc:spChg>
          <pc:spChg chg="mod">
            <ac:chgData name="Szabo, Corinne" userId="5f91d2e2-9041-4610-ba2d-7466ed1f64a1" providerId="ADAL" clId="{F9DC8332-650A-4F6E-AD93-DF41712C7C1D}" dt="2024-07-22T17:31:28.284" v="19"/>
            <ac:spMkLst>
              <pc:docMk/>
              <pc:sldMasterMk cId="177247593" sldId="2147484117"/>
              <pc:sldLayoutMk cId="22398549" sldId="2147483735"/>
              <ac:spMk id="20" creationId="{DB4E34FA-C623-4839-9B92-4D9DF6EC507F}"/>
            </ac:spMkLst>
          </pc:spChg>
          <pc:spChg chg="mod">
            <ac:chgData name="Szabo, Corinne" userId="5f91d2e2-9041-4610-ba2d-7466ed1f64a1" providerId="ADAL" clId="{F9DC8332-650A-4F6E-AD93-DF41712C7C1D}" dt="2024-07-22T17:31:28.284" v="19"/>
            <ac:spMkLst>
              <pc:docMk/>
              <pc:sldMasterMk cId="177247593" sldId="2147484117"/>
              <pc:sldLayoutMk cId="22398549" sldId="2147483735"/>
              <ac:spMk id="31" creationId="{2B5B89D0-2585-4A52-94B2-E1ABCDCB8AAD}"/>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671955973" sldId="2147483736"/>
          </pc:sldLayoutMkLst>
          <pc:spChg chg="mod">
            <ac:chgData name="Szabo, Corinne" userId="5f91d2e2-9041-4610-ba2d-7466ed1f64a1" providerId="ADAL" clId="{F9DC8332-650A-4F6E-AD93-DF41712C7C1D}" dt="2024-07-22T17:31:28.284" v="19"/>
            <ac:spMkLst>
              <pc:docMk/>
              <pc:sldMasterMk cId="177247593" sldId="2147484117"/>
              <pc:sldLayoutMk cId="671955973" sldId="2147483736"/>
              <ac:spMk id="6" creationId="{8666E135-0FEA-45F7-9219-0E1967A7CA81}"/>
            </ac:spMkLst>
          </pc:spChg>
          <pc:spChg chg="mod">
            <ac:chgData name="Szabo, Corinne" userId="5f91d2e2-9041-4610-ba2d-7466ed1f64a1" providerId="ADAL" clId="{F9DC8332-650A-4F6E-AD93-DF41712C7C1D}" dt="2024-07-22T17:31:28.284" v="19"/>
            <ac:spMkLst>
              <pc:docMk/>
              <pc:sldMasterMk cId="177247593" sldId="2147484117"/>
              <pc:sldLayoutMk cId="671955973" sldId="2147483736"/>
              <ac:spMk id="7" creationId="{610D8DC2-D828-41C1-812C-FD7981D4D77E}"/>
            </ac:spMkLst>
          </pc:spChg>
          <pc:spChg chg="mod">
            <ac:chgData name="Szabo, Corinne" userId="5f91d2e2-9041-4610-ba2d-7466ed1f64a1" providerId="ADAL" clId="{F9DC8332-650A-4F6E-AD93-DF41712C7C1D}" dt="2024-07-22T17:31:28.284" v="19"/>
            <ac:spMkLst>
              <pc:docMk/>
              <pc:sldMasterMk cId="177247593" sldId="2147484117"/>
              <pc:sldLayoutMk cId="671955973" sldId="2147483736"/>
              <ac:spMk id="20" creationId="{DB4E34FA-C623-4839-9B92-4D9DF6EC507F}"/>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421214658" sldId="2147483737"/>
          </pc:sldLayoutMkLst>
          <pc:spChg chg="mod">
            <ac:chgData name="Szabo, Corinne" userId="5f91d2e2-9041-4610-ba2d-7466ed1f64a1" providerId="ADAL" clId="{F9DC8332-650A-4F6E-AD93-DF41712C7C1D}" dt="2024-07-22T17:31:28.284" v="19"/>
            <ac:spMkLst>
              <pc:docMk/>
              <pc:sldMasterMk cId="177247593" sldId="2147484117"/>
              <pc:sldLayoutMk cId="421214658" sldId="2147483737"/>
              <ac:spMk id="5"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6"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9" creationId="{A6EC4B31-2DFA-4559-AB10-E11976047660}"/>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11" creationId="{F962AB37-50EC-4503-8AA2-809CFE862FEE}"/>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12" creationId="{C5B3E9C5-B899-4D3C-A9B0-27E24942FE71}"/>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13" creationId="{9669F93A-B977-4DFE-A6C8-3986F7EE0456}"/>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14" creationId="{F97CD7AE-C149-499A-8E8B-78FBC9FF8C8C}"/>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15" creationId="{4F3BCA7B-0501-40F7-B99E-23F44866A3C3}"/>
            </ac:spMkLst>
          </pc:spChg>
          <pc:spChg chg="mod">
            <ac:chgData name="Szabo, Corinne" userId="5f91d2e2-9041-4610-ba2d-7466ed1f64a1" providerId="ADAL" clId="{F9DC8332-650A-4F6E-AD93-DF41712C7C1D}" dt="2024-07-22T17:31:28.284" v="19"/>
            <ac:spMkLst>
              <pc:docMk/>
              <pc:sldMasterMk cId="177247593" sldId="2147484117"/>
              <pc:sldLayoutMk cId="421214658" sldId="2147483737"/>
              <ac:spMk id="16" creationId="{D477FE8C-6A1A-4D84-9733-FEB24C12420F}"/>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1671217455" sldId="2147483738"/>
          </pc:sldLayoutMkLst>
          <pc:spChg chg="mod">
            <ac:chgData name="Szabo, Corinne" userId="5f91d2e2-9041-4610-ba2d-7466ed1f64a1" providerId="ADAL" clId="{F9DC8332-650A-4F6E-AD93-DF41712C7C1D}" dt="2024-07-22T17:31:28.284" v="19"/>
            <ac:spMkLst>
              <pc:docMk/>
              <pc:sldMasterMk cId="177247593" sldId="2147484117"/>
              <pc:sldLayoutMk cId="1671217455" sldId="2147483738"/>
              <ac:spMk id="5"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6"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9" creationId="{A6EC4B31-2DFA-4559-AB10-E11976047660}"/>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11" creationId="{F962AB37-50EC-4503-8AA2-809CFE862FEE}"/>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17" creationId="{C6198300-891C-4CDF-B7FC-448A45252848}"/>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18" creationId="{044CA1F3-5EDB-4E31-B491-6F2F9388C87B}"/>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19" creationId="{469D2F4C-18C8-4DB6-948C-09F2A239761D}"/>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20" creationId="{679BFE12-15D5-4E36-9C80-2F8D4D1262DF}"/>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21" creationId="{46C952A7-F50A-4EEE-A0D1-E4A89AA3FFBE}"/>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22" creationId="{593194FC-AC00-46FC-BBB7-384D720B9AAB}"/>
            </ac:spMkLst>
          </pc:spChg>
          <pc:spChg chg="mod">
            <ac:chgData name="Szabo, Corinne" userId="5f91d2e2-9041-4610-ba2d-7466ed1f64a1" providerId="ADAL" clId="{F9DC8332-650A-4F6E-AD93-DF41712C7C1D}" dt="2024-07-22T17:31:28.284" v="19"/>
            <ac:spMkLst>
              <pc:docMk/>
              <pc:sldMasterMk cId="177247593" sldId="2147484117"/>
              <pc:sldLayoutMk cId="1671217455" sldId="2147483738"/>
              <ac:spMk id="23" creationId="{59B35118-AE21-4B33-8819-E1D2AC34F08A}"/>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014787995" sldId="2147483739"/>
          </pc:sldLayoutMkLst>
          <pc:spChg chg="mod">
            <ac:chgData name="Szabo, Corinne" userId="5f91d2e2-9041-4610-ba2d-7466ed1f64a1" providerId="ADAL" clId="{F9DC8332-650A-4F6E-AD93-DF41712C7C1D}" dt="2024-07-22T17:31:28.284" v="19"/>
            <ac:spMkLst>
              <pc:docMk/>
              <pc:sldMasterMk cId="177247593" sldId="2147484117"/>
              <pc:sldLayoutMk cId="2014787995" sldId="2147483739"/>
              <ac:spMk id="2" creationId="{78F6AAB6-F2E4-4C18-A86D-448422BA4865}"/>
            </ac:spMkLst>
          </pc:spChg>
          <pc:spChg chg="mod">
            <ac:chgData name="Szabo, Corinne" userId="5f91d2e2-9041-4610-ba2d-7466ed1f64a1" providerId="ADAL" clId="{F9DC8332-650A-4F6E-AD93-DF41712C7C1D}" dt="2024-07-22T17:31:28.284" v="19"/>
            <ac:spMkLst>
              <pc:docMk/>
              <pc:sldMasterMk cId="177247593" sldId="2147484117"/>
              <pc:sldLayoutMk cId="2014787995" sldId="2147483739"/>
              <ac:spMk id="6"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2014787995" sldId="2147483739"/>
              <ac:spMk id="25" creationId="{D61D2F69-37BB-47BA-8265-CA2F040D7CF4}"/>
            </ac:spMkLst>
          </pc:spChg>
          <pc:spChg chg="mod">
            <ac:chgData name="Szabo, Corinne" userId="5f91d2e2-9041-4610-ba2d-7466ed1f64a1" providerId="ADAL" clId="{F9DC8332-650A-4F6E-AD93-DF41712C7C1D}" dt="2024-07-22T17:31:28.284" v="19"/>
            <ac:spMkLst>
              <pc:docMk/>
              <pc:sldMasterMk cId="177247593" sldId="2147484117"/>
              <pc:sldLayoutMk cId="2014787995" sldId="2147483739"/>
              <ac:spMk id="30" creationId="{6A8EF8A1-6547-42D9-BE42-B04B0335D474}"/>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3867879035" sldId="2147483740"/>
          </pc:sldLayoutMkLst>
          <pc:spChg chg="mod">
            <ac:chgData name="Szabo, Corinne" userId="5f91d2e2-9041-4610-ba2d-7466ed1f64a1" providerId="ADAL" clId="{F9DC8332-650A-4F6E-AD93-DF41712C7C1D}" dt="2024-07-22T17:31:28.284" v="19"/>
            <ac:spMkLst>
              <pc:docMk/>
              <pc:sldMasterMk cId="177247593" sldId="2147484117"/>
              <pc:sldLayoutMk cId="3867879035" sldId="2147483740"/>
              <ac:spMk id="6"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3867879035" sldId="2147483740"/>
              <ac:spMk id="13" creationId="{4958C054-839F-4DE0-821D-EA7EB605C25A}"/>
            </ac:spMkLst>
          </pc:spChg>
          <pc:spChg chg="mod">
            <ac:chgData name="Szabo, Corinne" userId="5f91d2e2-9041-4610-ba2d-7466ed1f64a1" providerId="ADAL" clId="{F9DC8332-650A-4F6E-AD93-DF41712C7C1D}" dt="2024-07-22T17:31:28.284" v="19"/>
            <ac:spMkLst>
              <pc:docMk/>
              <pc:sldMasterMk cId="177247593" sldId="2147484117"/>
              <pc:sldLayoutMk cId="3867879035" sldId="2147483740"/>
              <ac:spMk id="26" creationId="{9E2829E9-8450-4387-8829-2806A9CFA66C}"/>
            </ac:spMkLst>
          </pc:spChg>
          <pc:spChg chg="mod">
            <ac:chgData name="Szabo, Corinne" userId="5f91d2e2-9041-4610-ba2d-7466ed1f64a1" providerId="ADAL" clId="{F9DC8332-650A-4F6E-AD93-DF41712C7C1D}" dt="2024-07-22T17:31:28.284" v="19"/>
            <ac:spMkLst>
              <pc:docMk/>
              <pc:sldMasterMk cId="177247593" sldId="2147484117"/>
              <pc:sldLayoutMk cId="3867879035" sldId="2147483740"/>
              <ac:spMk id="32" creationId="{49B72505-4BA6-467A-A016-185DCF2BABFB}"/>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81879018" sldId="2147483741"/>
          </pc:sldLayoutMkLst>
          <pc:spChg chg="mod">
            <ac:chgData name="Szabo, Corinne" userId="5f91d2e2-9041-4610-ba2d-7466ed1f64a1" providerId="ADAL" clId="{F9DC8332-650A-4F6E-AD93-DF41712C7C1D}" dt="2024-07-22T17:31:28.284" v="19"/>
            <ac:spMkLst>
              <pc:docMk/>
              <pc:sldMasterMk cId="177247593" sldId="2147484117"/>
              <pc:sldLayoutMk cId="281879018" sldId="2147483741"/>
              <ac:spMk id="3" creationId="{F0C199D1-6F51-4347-BEED-D381ED734E52}"/>
            </ac:spMkLst>
          </pc:spChg>
          <pc:spChg chg="mod">
            <ac:chgData name="Szabo, Corinne" userId="5f91d2e2-9041-4610-ba2d-7466ed1f64a1" providerId="ADAL" clId="{F9DC8332-650A-4F6E-AD93-DF41712C7C1D}" dt="2024-07-22T17:31:28.284" v="19"/>
            <ac:spMkLst>
              <pc:docMk/>
              <pc:sldMasterMk cId="177247593" sldId="2147484117"/>
              <pc:sldLayoutMk cId="281879018" sldId="2147483741"/>
              <ac:spMk id="6"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281879018" sldId="2147483741"/>
              <ac:spMk id="13" creationId="{4958C054-839F-4DE0-821D-EA7EB605C25A}"/>
            </ac:spMkLst>
          </pc:spChg>
          <pc:spChg chg="mod">
            <ac:chgData name="Szabo, Corinne" userId="5f91d2e2-9041-4610-ba2d-7466ed1f64a1" providerId="ADAL" clId="{F9DC8332-650A-4F6E-AD93-DF41712C7C1D}" dt="2024-07-22T17:31:28.284" v="19"/>
            <ac:spMkLst>
              <pc:docMk/>
              <pc:sldMasterMk cId="177247593" sldId="2147484117"/>
              <pc:sldLayoutMk cId="281879018" sldId="2147483741"/>
              <ac:spMk id="33" creationId="{89243D40-1E8B-48AD-9086-FE03162863CD}"/>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4184162634" sldId="2147483742"/>
          </pc:sldLayoutMkLst>
          <pc:spChg chg="mod">
            <ac:chgData name="Szabo, Corinne" userId="5f91d2e2-9041-4610-ba2d-7466ed1f64a1" providerId="ADAL" clId="{F9DC8332-650A-4F6E-AD93-DF41712C7C1D}" dt="2024-07-22T17:31:28.284" v="19"/>
            <ac:spMkLst>
              <pc:docMk/>
              <pc:sldMasterMk cId="177247593" sldId="2147484117"/>
              <pc:sldLayoutMk cId="4184162634" sldId="2147483742"/>
              <ac:spMk id="3" creationId="{F0C199D1-6F51-4347-BEED-D381ED734E52}"/>
            </ac:spMkLst>
          </pc:spChg>
          <pc:spChg chg="mod">
            <ac:chgData name="Szabo, Corinne" userId="5f91d2e2-9041-4610-ba2d-7466ed1f64a1" providerId="ADAL" clId="{F9DC8332-650A-4F6E-AD93-DF41712C7C1D}" dt="2024-07-22T17:31:28.284" v="19"/>
            <ac:spMkLst>
              <pc:docMk/>
              <pc:sldMasterMk cId="177247593" sldId="2147484117"/>
              <pc:sldLayoutMk cId="4184162634" sldId="2147483742"/>
              <ac:spMk id="6" creationId="{00000000-0000-0000-0000-000000000000}"/>
            </ac:spMkLst>
          </pc:spChg>
          <pc:spChg chg="mod">
            <ac:chgData name="Szabo, Corinne" userId="5f91d2e2-9041-4610-ba2d-7466ed1f64a1" providerId="ADAL" clId="{F9DC8332-650A-4F6E-AD93-DF41712C7C1D}" dt="2024-07-22T17:31:28.284" v="19"/>
            <ac:spMkLst>
              <pc:docMk/>
              <pc:sldMasterMk cId="177247593" sldId="2147484117"/>
              <pc:sldLayoutMk cId="4184162634" sldId="2147483742"/>
              <ac:spMk id="13" creationId="{4958C054-839F-4DE0-821D-EA7EB605C25A}"/>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780267936" sldId="2147483743"/>
          </pc:sldLayoutMkLst>
          <pc:spChg chg="mod">
            <ac:chgData name="Szabo, Corinne" userId="5f91d2e2-9041-4610-ba2d-7466ed1f64a1" providerId="ADAL" clId="{F9DC8332-650A-4F6E-AD93-DF41712C7C1D}" dt="2024-07-22T17:31:28.284" v="19"/>
            <ac:spMkLst>
              <pc:docMk/>
              <pc:sldMasterMk cId="177247593" sldId="2147484117"/>
              <pc:sldLayoutMk cId="780267936" sldId="2147483743"/>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780267936" sldId="2147483743"/>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780267936" sldId="2147483743"/>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780267936" sldId="2147483743"/>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780267936" sldId="2147483743"/>
              <ac:spMk id="9" creationId="{3035372B-E408-420D-8FFE-5FB47D86DDD2}"/>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3635340179" sldId="2147483744"/>
          </pc:sldLayoutMkLst>
          <pc:spChg chg="mod">
            <ac:chgData name="Szabo, Corinne" userId="5f91d2e2-9041-4610-ba2d-7466ed1f64a1" providerId="ADAL" clId="{F9DC8332-650A-4F6E-AD93-DF41712C7C1D}" dt="2024-07-22T17:31:28.284" v="19"/>
            <ac:spMkLst>
              <pc:docMk/>
              <pc:sldMasterMk cId="177247593" sldId="2147484117"/>
              <pc:sldLayoutMk cId="3635340179" sldId="2147483744"/>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3635340179" sldId="2147483744"/>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3635340179" sldId="2147483744"/>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3635340179" sldId="2147483744"/>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3635340179" sldId="2147483744"/>
              <ac:spMk id="8" creationId="{1BFFB19F-AC58-4411-B63F-384CD8112D12}"/>
            </ac:spMkLst>
          </pc:spChg>
          <pc:spChg chg="mod">
            <ac:chgData name="Szabo, Corinne" userId="5f91d2e2-9041-4610-ba2d-7466ed1f64a1" providerId="ADAL" clId="{F9DC8332-650A-4F6E-AD93-DF41712C7C1D}" dt="2024-07-22T17:31:28.284" v="19"/>
            <ac:spMkLst>
              <pc:docMk/>
              <pc:sldMasterMk cId="177247593" sldId="2147484117"/>
              <pc:sldLayoutMk cId="3635340179" sldId="2147483744"/>
              <ac:spMk id="9" creationId="{3035372B-E408-420D-8FFE-5FB47D86DDD2}"/>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453157908" sldId="2147483745"/>
          </pc:sldLayoutMkLst>
          <pc:spChg chg="mod">
            <ac:chgData name="Szabo, Corinne" userId="5f91d2e2-9041-4610-ba2d-7466ed1f64a1" providerId="ADAL" clId="{F9DC8332-650A-4F6E-AD93-DF41712C7C1D}" dt="2024-07-22T17:31:28.284" v="19"/>
            <ac:spMkLst>
              <pc:docMk/>
              <pc:sldMasterMk cId="177247593" sldId="2147484117"/>
              <pc:sldLayoutMk cId="2453157908" sldId="2147483745"/>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2453157908" sldId="2147483745"/>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2453157908" sldId="2147483745"/>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2453157908" sldId="2147483745"/>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453157908" sldId="2147483745"/>
              <ac:spMk id="7" creationId="{4E04CD55-C249-4F39-8468-83327E8DB3C5}"/>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054294848" sldId="2147483746"/>
          </pc:sldLayoutMkLst>
          <pc:spChg chg="mod">
            <ac:chgData name="Szabo, Corinne" userId="5f91d2e2-9041-4610-ba2d-7466ed1f64a1" providerId="ADAL" clId="{F9DC8332-650A-4F6E-AD93-DF41712C7C1D}" dt="2024-07-22T17:31:28.284" v="19"/>
            <ac:spMkLst>
              <pc:docMk/>
              <pc:sldMasterMk cId="177247593" sldId="2147484117"/>
              <pc:sldLayoutMk cId="2054294848" sldId="2147483746"/>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9" creationId="{3035372B-E408-420D-8FFE-5FB47D86DDD2}"/>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16" creationId="{C8B2FA79-3DD0-4FA8-90A0-E12843042023}"/>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17" creationId="{632C5D7A-5397-489F-85DC-D510FC2FB9CD}"/>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18" creationId="{9EF16965-8616-4BCC-8FA2-F06C275B591F}"/>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19" creationId="{8EFF5283-0C90-4C63-8A76-2492F32ADED3}"/>
            </ac:spMkLst>
          </pc:spChg>
          <pc:spChg chg="mod">
            <ac:chgData name="Szabo, Corinne" userId="5f91d2e2-9041-4610-ba2d-7466ed1f64a1" providerId="ADAL" clId="{F9DC8332-650A-4F6E-AD93-DF41712C7C1D}" dt="2024-07-22T17:31:28.284" v="19"/>
            <ac:spMkLst>
              <pc:docMk/>
              <pc:sldMasterMk cId="177247593" sldId="2147484117"/>
              <pc:sldLayoutMk cId="2054294848" sldId="2147483746"/>
              <ac:spMk id="20" creationId="{77E842E8-27EA-44B3-9C76-92DB6EDC1A9F}"/>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3328834190" sldId="2147483747"/>
          </pc:sldLayoutMkLst>
          <pc:spChg chg="mod">
            <ac:chgData name="Szabo, Corinne" userId="5f91d2e2-9041-4610-ba2d-7466ed1f64a1" providerId="ADAL" clId="{F9DC8332-650A-4F6E-AD93-DF41712C7C1D}" dt="2024-07-22T17:31:28.284" v="19"/>
            <ac:spMkLst>
              <pc:docMk/>
              <pc:sldMasterMk cId="177247593" sldId="2147484117"/>
              <pc:sldLayoutMk cId="3328834190" sldId="2147483747"/>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7" creationId="{A4EC7FDF-598C-4F07-B51E-EA09316920A7}"/>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8" creationId="{854472FB-7A04-4397-A170-ABDA7C26C94A}"/>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12" creationId="{5A0F78F3-324F-46BF-95C0-EC8CC75D08CB}"/>
            </ac:spMkLst>
          </pc:spChg>
          <pc:spChg chg="mod">
            <ac:chgData name="Szabo, Corinne" userId="5f91d2e2-9041-4610-ba2d-7466ed1f64a1" providerId="ADAL" clId="{F9DC8332-650A-4F6E-AD93-DF41712C7C1D}" dt="2024-07-22T17:31:28.284" v="19"/>
            <ac:spMkLst>
              <pc:docMk/>
              <pc:sldMasterMk cId="177247593" sldId="2147484117"/>
              <pc:sldLayoutMk cId="3328834190" sldId="2147483747"/>
              <ac:spMk id="13" creationId="{1572219B-6C98-4B08-9B9F-4E04ED860A8C}"/>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207376776" sldId="2147483748"/>
          </pc:sldLayoutMkLst>
          <pc:spChg chg="mod">
            <ac:chgData name="Szabo, Corinne" userId="5f91d2e2-9041-4610-ba2d-7466ed1f64a1" providerId="ADAL" clId="{F9DC8332-650A-4F6E-AD93-DF41712C7C1D}" dt="2024-07-22T17:31:28.284" v="19"/>
            <ac:spMkLst>
              <pc:docMk/>
              <pc:sldMasterMk cId="177247593" sldId="2147484117"/>
              <pc:sldLayoutMk cId="2207376776" sldId="2147483748"/>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7" creationId="{A4EC7FDF-598C-4F07-B51E-EA09316920A7}"/>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9" creationId="{00917691-819C-42A3-84E7-BB4918045702}"/>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0" creationId="{506018C7-23AA-4F16-9434-3E8994F999B4}"/>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1" creationId="{FD774C5B-6035-4185-9BDE-DDB15B8A7A5F}"/>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2" creationId="{A5E543C6-1776-417C-A381-3248B3DE5B11}"/>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3" creationId="{FCE24A74-C0D5-4C66-9D11-7BFD8F8C8F3E}"/>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7" creationId="{86553560-FC2D-4819-8FE6-AD3C932F8997}"/>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18" creationId="{7B10C465-B273-49D6-874E-68FE532163E6}"/>
            </ac:spMkLst>
          </pc:spChg>
          <pc:spChg chg="mod">
            <ac:chgData name="Szabo, Corinne" userId="5f91d2e2-9041-4610-ba2d-7466ed1f64a1" providerId="ADAL" clId="{F9DC8332-650A-4F6E-AD93-DF41712C7C1D}" dt="2024-07-22T17:31:28.284" v="19"/>
            <ac:spMkLst>
              <pc:docMk/>
              <pc:sldMasterMk cId="177247593" sldId="2147484117"/>
              <pc:sldLayoutMk cId="2207376776" sldId="2147483748"/>
              <ac:spMk id="20" creationId="{455E5A23-6A34-4A67-8CE7-AE3F69184F95}"/>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371849427" sldId="2147483749"/>
          </pc:sldLayoutMkLst>
          <pc:spChg chg="mod">
            <ac:chgData name="Szabo, Corinne" userId="5f91d2e2-9041-4610-ba2d-7466ed1f64a1" providerId="ADAL" clId="{F9DC8332-650A-4F6E-AD93-DF41712C7C1D}" dt="2024-07-22T17:31:28.284" v="19"/>
            <ac:spMkLst>
              <pc:docMk/>
              <pc:sldMasterMk cId="177247593" sldId="2147484117"/>
              <pc:sldLayoutMk cId="2371849427" sldId="2147483749"/>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11" creationId="{FD774C5B-6035-4185-9BDE-DDB15B8A7A5F}"/>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17" creationId="{86553560-FC2D-4819-8FE6-AD3C932F8997}"/>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18" creationId="{4DCBB157-0523-4E9E-9AE5-223DDADCCC5B}"/>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19" creationId="{3972C867-7FD0-4127-9CD6-4778059658C9}"/>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20" creationId="{5C5C98CA-DFFA-4651-8852-1FE4F95365E2}"/>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28" creationId="{B2E427D2-44B7-4231-BE08-6119713FF637}"/>
            </ac:spMkLst>
          </pc:spChg>
          <pc:spChg chg="mod">
            <ac:chgData name="Szabo, Corinne" userId="5f91d2e2-9041-4610-ba2d-7466ed1f64a1" providerId="ADAL" clId="{F9DC8332-650A-4F6E-AD93-DF41712C7C1D}" dt="2024-07-22T17:31:28.284" v="19"/>
            <ac:spMkLst>
              <pc:docMk/>
              <pc:sldMasterMk cId="177247593" sldId="2147484117"/>
              <pc:sldLayoutMk cId="2371849427" sldId="2147483749"/>
              <ac:spMk id="30" creationId="{9158BA98-678D-4CCB-8811-531B29A2FB54}"/>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834826881" sldId="2147483750"/>
          </pc:sldLayoutMkLst>
          <pc:spChg chg="mod">
            <ac:chgData name="Szabo, Corinne" userId="5f91d2e2-9041-4610-ba2d-7466ed1f64a1" providerId="ADAL" clId="{F9DC8332-650A-4F6E-AD93-DF41712C7C1D}" dt="2024-07-22T17:31:28.284" v="19"/>
            <ac:spMkLst>
              <pc:docMk/>
              <pc:sldMasterMk cId="177247593" sldId="2147484117"/>
              <pc:sldLayoutMk cId="2834826881" sldId="2147483750"/>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2834826881" sldId="2147483750"/>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834826881" sldId="2147483750"/>
              <ac:spMk id="9" creationId="{EEB5BC8B-63DA-415A-817A-643166CA08C4}"/>
            </ac:spMkLst>
          </pc:spChg>
          <pc:spChg chg="mod">
            <ac:chgData name="Szabo, Corinne" userId="5f91d2e2-9041-4610-ba2d-7466ed1f64a1" providerId="ADAL" clId="{F9DC8332-650A-4F6E-AD93-DF41712C7C1D}" dt="2024-07-22T17:31:28.284" v="19"/>
            <ac:spMkLst>
              <pc:docMk/>
              <pc:sldMasterMk cId="177247593" sldId="2147484117"/>
              <pc:sldLayoutMk cId="2834826881" sldId="2147483750"/>
              <ac:spMk id="13" creationId="{736D4B69-8F9D-4FFA-A4B7-3CFC99692587}"/>
            </ac:spMkLst>
          </pc:spChg>
          <pc:spChg chg="mod">
            <ac:chgData name="Szabo, Corinne" userId="5f91d2e2-9041-4610-ba2d-7466ed1f64a1" providerId="ADAL" clId="{F9DC8332-650A-4F6E-AD93-DF41712C7C1D}" dt="2024-07-22T17:31:28.284" v="19"/>
            <ac:spMkLst>
              <pc:docMk/>
              <pc:sldMasterMk cId="177247593" sldId="2147484117"/>
              <pc:sldLayoutMk cId="2834826881" sldId="2147483750"/>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2834826881" sldId="2147483750"/>
              <ac:spMk id="17" creationId="{86553560-FC2D-4819-8FE6-AD3C932F8997}"/>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1243660821" sldId="2147483751"/>
          </pc:sldLayoutMkLst>
          <pc:spChg chg="mod">
            <ac:chgData name="Szabo, Corinne" userId="5f91d2e2-9041-4610-ba2d-7466ed1f64a1" providerId="ADAL" clId="{F9DC8332-650A-4F6E-AD93-DF41712C7C1D}" dt="2024-07-22T17:31:28.284" v="19"/>
            <ac:spMkLst>
              <pc:docMk/>
              <pc:sldMasterMk cId="177247593" sldId="2147484117"/>
              <pc:sldLayoutMk cId="1243660821" sldId="2147483751"/>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1243660821" sldId="2147483751"/>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1243660821" sldId="2147483751"/>
              <ac:spMk id="8" creationId="{6D559939-F0F3-41DF-BA50-4A35D367F958}"/>
            </ac:spMkLst>
          </pc:spChg>
          <pc:spChg chg="mod">
            <ac:chgData name="Szabo, Corinne" userId="5f91d2e2-9041-4610-ba2d-7466ed1f64a1" providerId="ADAL" clId="{F9DC8332-650A-4F6E-AD93-DF41712C7C1D}" dt="2024-07-22T17:31:28.284" v="19"/>
            <ac:spMkLst>
              <pc:docMk/>
              <pc:sldMasterMk cId="177247593" sldId="2147484117"/>
              <pc:sldLayoutMk cId="1243660821" sldId="2147483751"/>
              <ac:spMk id="10" creationId="{CA82406D-8362-445D-AC9E-64F16FA2E390}"/>
            </ac:spMkLst>
          </pc:spChg>
          <pc:spChg chg="mod">
            <ac:chgData name="Szabo, Corinne" userId="5f91d2e2-9041-4610-ba2d-7466ed1f64a1" providerId="ADAL" clId="{F9DC8332-650A-4F6E-AD93-DF41712C7C1D}" dt="2024-07-22T17:31:28.284" v="19"/>
            <ac:spMkLst>
              <pc:docMk/>
              <pc:sldMasterMk cId="177247593" sldId="2147484117"/>
              <pc:sldLayoutMk cId="1243660821" sldId="2147483751"/>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1243660821" sldId="2147483751"/>
              <ac:spMk id="17" creationId="{86553560-FC2D-4819-8FE6-AD3C932F8997}"/>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85219681" sldId="2147483752"/>
          </pc:sldLayoutMkLst>
          <pc:spChg chg="mod">
            <ac:chgData name="Szabo, Corinne" userId="5f91d2e2-9041-4610-ba2d-7466ed1f64a1" providerId="ADAL" clId="{F9DC8332-650A-4F6E-AD93-DF41712C7C1D}" dt="2024-07-22T17:31:28.284" v="19"/>
            <ac:spMkLst>
              <pc:docMk/>
              <pc:sldMasterMk cId="177247593" sldId="2147484117"/>
              <pc:sldLayoutMk cId="285219681" sldId="2147483752"/>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285219681" sldId="2147483752"/>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85219681" sldId="2147483752"/>
              <ac:spMk id="11" creationId="{972AA708-4E4D-4EAD-88E7-7EC8A4C9A297}"/>
            </ac:spMkLst>
          </pc:spChg>
          <pc:spChg chg="mod">
            <ac:chgData name="Szabo, Corinne" userId="5f91d2e2-9041-4610-ba2d-7466ed1f64a1" providerId="ADAL" clId="{F9DC8332-650A-4F6E-AD93-DF41712C7C1D}" dt="2024-07-22T17:31:28.284" v="19"/>
            <ac:spMkLst>
              <pc:docMk/>
              <pc:sldMasterMk cId="177247593" sldId="2147484117"/>
              <pc:sldLayoutMk cId="285219681" sldId="2147483752"/>
              <ac:spMk id="12" creationId="{97C3166F-6AB3-4C7F-A566-02A05195B6FC}"/>
            </ac:spMkLst>
          </pc:spChg>
          <pc:spChg chg="mod">
            <ac:chgData name="Szabo, Corinne" userId="5f91d2e2-9041-4610-ba2d-7466ed1f64a1" providerId="ADAL" clId="{F9DC8332-650A-4F6E-AD93-DF41712C7C1D}" dt="2024-07-22T17:31:28.284" v="19"/>
            <ac:spMkLst>
              <pc:docMk/>
              <pc:sldMasterMk cId="177247593" sldId="2147484117"/>
              <pc:sldLayoutMk cId="285219681" sldId="2147483752"/>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285219681" sldId="2147483752"/>
              <ac:spMk id="17" creationId="{86553560-FC2D-4819-8FE6-AD3C932F8997}"/>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77929252" sldId="2147483753"/>
          </pc:sldLayoutMkLst>
          <pc:spChg chg="mod">
            <ac:chgData name="Szabo, Corinne" userId="5f91d2e2-9041-4610-ba2d-7466ed1f64a1" providerId="ADAL" clId="{F9DC8332-650A-4F6E-AD93-DF41712C7C1D}" dt="2024-07-22T17:31:28.284" v="19"/>
            <ac:spMkLst>
              <pc:docMk/>
              <pc:sldMasterMk cId="177247593" sldId="2147484117"/>
              <pc:sldLayoutMk cId="277929252" sldId="2147483753"/>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277929252" sldId="2147483753"/>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277929252" sldId="2147483753"/>
              <ac:spMk id="9" creationId="{C80F9D36-54FD-4A20-A132-828717E13CA6}"/>
            </ac:spMkLst>
          </pc:spChg>
          <pc:spChg chg="mod">
            <ac:chgData name="Szabo, Corinne" userId="5f91d2e2-9041-4610-ba2d-7466ed1f64a1" providerId="ADAL" clId="{F9DC8332-650A-4F6E-AD93-DF41712C7C1D}" dt="2024-07-22T17:31:28.284" v="19"/>
            <ac:spMkLst>
              <pc:docMk/>
              <pc:sldMasterMk cId="177247593" sldId="2147484117"/>
              <pc:sldLayoutMk cId="277929252" sldId="2147483753"/>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277929252" sldId="2147483753"/>
              <ac:spMk id="17" creationId="{86553560-FC2D-4819-8FE6-AD3C932F8997}"/>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1292984466" sldId="2147483754"/>
          </pc:sldLayoutMkLst>
          <pc:spChg chg="mod">
            <ac:chgData name="Szabo, Corinne" userId="5f91d2e2-9041-4610-ba2d-7466ed1f64a1" providerId="ADAL" clId="{F9DC8332-650A-4F6E-AD93-DF41712C7C1D}" dt="2024-07-22T17:31:28.284" v="19"/>
            <ac:spMkLst>
              <pc:docMk/>
              <pc:sldMasterMk cId="177247593" sldId="2147484117"/>
              <pc:sldLayoutMk cId="1292984466" sldId="2147483754"/>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9" creationId="{00917691-819C-42A3-84E7-BB4918045702}"/>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10" creationId="{506018C7-23AA-4F16-9434-3E8994F999B4}"/>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17" creationId="{86553560-FC2D-4819-8FE6-AD3C932F8997}"/>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21" creationId="{34371AC1-D0FC-4409-8108-A028C655B206}"/>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22" creationId="{A0339B73-3DAE-4696-B2C4-AB2C296FFFBC}"/>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24" creationId="{179A2654-FFD1-4A53-A8A9-7AC651369696}"/>
            </ac:spMkLst>
          </pc:spChg>
          <pc:spChg chg="mod">
            <ac:chgData name="Szabo, Corinne" userId="5f91d2e2-9041-4610-ba2d-7466ed1f64a1" providerId="ADAL" clId="{F9DC8332-650A-4F6E-AD93-DF41712C7C1D}" dt="2024-07-22T17:31:28.284" v="19"/>
            <ac:spMkLst>
              <pc:docMk/>
              <pc:sldMasterMk cId="177247593" sldId="2147484117"/>
              <pc:sldLayoutMk cId="1292984466" sldId="2147483754"/>
              <ac:spMk id="25" creationId="{7F77922E-300B-4EC9-8500-DD45006C9BFD}"/>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872032796" sldId="2147483755"/>
          </pc:sldLayoutMkLst>
          <pc:spChg chg="mod">
            <ac:chgData name="Szabo, Corinne" userId="5f91d2e2-9041-4610-ba2d-7466ed1f64a1" providerId="ADAL" clId="{F9DC8332-650A-4F6E-AD93-DF41712C7C1D}" dt="2024-07-22T17:31:28.284" v="19"/>
            <ac:spMkLst>
              <pc:docMk/>
              <pc:sldMasterMk cId="177247593" sldId="2147484117"/>
              <pc:sldLayoutMk cId="872032796" sldId="2147483755"/>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9" creationId="{00917691-819C-42A3-84E7-BB4918045702}"/>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10" creationId="{506018C7-23AA-4F16-9434-3E8994F999B4}"/>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13" creationId="{2D77EC42-E5B3-465E-80AB-7FE8E542C3DA}"/>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16" creationId="{18F6D520-00DF-4ED4-B209-E7BFD6156BD8}"/>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17" creationId="{86553560-FC2D-4819-8FE6-AD3C932F8997}"/>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18" creationId="{A147DE8D-8891-46EE-8AB0-11512AF1D40D}"/>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19" creationId="{32BF79EA-A7C6-4F74-BB66-78E7F6B5C12D}"/>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23" creationId="{8B35CDE5-EFFA-4FB5-9972-25A607658134}"/>
            </ac:spMkLst>
          </pc:spChg>
          <pc:spChg chg="mod">
            <ac:chgData name="Szabo, Corinne" userId="5f91d2e2-9041-4610-ba2d-7466ed1f64a1" providerId="ADAL" clId="{F9DC8332-650A-4F6E-AD93-DF41712C7C1D}" dt="2024-07-22T17:31:28.284" v="19"/>
            <ac:spMkLst>
              <pc:docMk/>
              <pc:sldMasterMk cId="177247593" sldId="2147484117"/>
              <pc:sldLayoutMk cId="872032796" sldId="2147483755"/>
              <ac:spMk id="26" creationId="{7D204983-8312-4BC8-89D6-158DF6D0CE87}"/>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4015557567" sldId="2147483756"/>
          </pc:sldLayoutMkLst>
          <pc:spChg chg="mod">
            <ac:chgData name="Szabo, Corinne" userId="5f91d2e2-9041-4610-ba2d-7466ed1f64a1" providerId="ADAL" clId="{F9DC8332-650A-4F6E-AD93-DF41712C7C1D}" dt="2024-07-22T17:31:28.284" v="19"/>
            <ac:spMkLst>
              <pc:docMk/>
              <pc:sldMasterMk cId="177247593" sldId="2147484117"/>
              <pc:sldLayoutMk cId="4015557567" sldId="2147483756"/>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4015557567" sldId="2147483756"/>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4015557567" sldId="2147483756"/>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4015557567" sldId="2147483756"/>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4015557567" sldId="2147483756"/>
              <ac:spMk id="16" creationId="{F39A3DC5-89B3-42C4-A8B4-C3CFDDCE2DD0}"/>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4063628044" sldId="2147483757"/>
          </pc:sldLayoutMkLst>
          <pc:spChg chg="mod">
            <ac:chgData name="Szabo, Corinne" userId="5f91d2e2-9041-4610-ba2d-7466ed1f64a1" providerId="ADAL" clId="{F9DC8332-650A-4F6E-AD93-DF41712C7C1D}" dt="2024-07-22T17:31:28.284" v="19"/>
            <ac:spMkLst>
              <pc:docMk/>
              <pc:sldMasterMk cId="177247593" sldId="2147484117"/>
              <pc:sldLayoutMk cId="4063628044" sldId="2147483757"/>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12" creationId="{C4EF0926-67AF-4DB0-99F3-9330034ADB73}"/>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13" creationId="{862C56E4-94D2-408E-838A-EB8784194808}"/>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14" creationId="{0796A941-953B-44B8-A773-4DBF7A300DCF}"/>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15" creationId="{E317AE3B-1B63-4F2A-9579-E46A9FB55127}"/>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16" creationId="{F39A3DC5-89B3-42C4-A8B4-C3CFDDCE2DD0}"/>
            </ac:spMkLst>
          </pc:spChg>
          <pc:spChg chg="mod">
            <ac:chgData name="Szabo, Corinne" userId="5f91d2e2-9041-4610-ba2d-7466ed1f64a1" providerId="ADAL" clId="{F9DC8332-650A-4F6E-AD93-DF41712C7C1D}" dt="2024-07-22T17:31:28.284" v="19"/>
            <ac:spMkLst>
              <pc:docMk/>
              <pc:sldMasterMk cId="177247593" sldId="2147484117"/>
              <pc:sldLayoutMk cId="4063628044" sldId="2147483757"/>
              <ac:spMk id="17" creationId="{71B39A0B-88D1-44DD-97CA-2C93B4271CAF}"/>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1247970421" sldId="2147483758"/>
          </pc:sldLayoutMkLst>
          <pc:spChg chg="mod">
            <ac:chgData name="Szabo, Corinne" userId="5f91d2e2-9041-4610-ba2d-7466ed1f64a1" providerId="ADAL" clId="{F9DC8332-650A-4F6E-AD93-DF41712C7C1D}" dt="2024-07-22T17:31:28.284" v="19"/>
            <ac:spMkLst>
              <pc:docMk/>
              <pc:sldMasterMk cId="177247593" sldId="2147484117"/>
              <pc:sldLayoutMk cId="1247970421" sldId="2147483758"/>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14" creationId="{0796A941-953B-44B8-A773-4DBF7A300DCF}"/>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16" creationId="{F39A3DC5-89B3-42C4-A8B4-C3CFDDCE2DD0}"/>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19" creationId="{D4246ADE-C6FF-4585-8C81-CEE798920FBC}"/>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0" creationId="{3FE71BC0-F0B4-40A9-ABB2-F67941299444}"/>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1" creationId="{91A5EA92-E74B-4861-B567-F18BF1540164}"/>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2" creationId="{907E0BA8-FFEA-4FB1-B4C0-01453686F4BF}"/>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3" creationId="{39107FBF-4646-4261-A4D4-FC2D8D20A015}"/>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4" creationId="{EB7DFCB0-3C5C-4020-9EDD-72A2DAC1975B}"/>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5" creationId="{9816E869-0BE9-4065-BBC7-E921D4F6506C}"/>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6" creationId="{4C984B48-2820-4944-B35B-5D17CFC12932}"/>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7" creationId="{43258035-61CF-4F7D-93C8-9E0ED7C5F6B0}"/>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8" creationId="{84BE6DFB-D6E8-4EDF-91CB-26857DBF77D2}"/>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29" creationId="{896BC8CC-D2CE-4E78-B439-3295FDBE20E4}"/>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30" creationId="{4732CA31-1DD1-4983-A5AF-B7D6679D6FD5}"/>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31" creationId="{E001E223-A28C-4D3C-89C6-72C4D507D4BB}"/>
            </ac:spMkLst>
          </pc:spChg>
          <pc:spChg chg="mod">
            <ac:chgData name="Szabo, Corinne" userId="5f91d2e2-9041-4610-ba2d-7466ed1f64a1" providerId="ADAL" clId="{F9DC8332-650A-4F6E-AD93-DF41712C7C1D}" dt="2024-07-22T17:31:28.284" v="19"/>
            <ac:spMkLst>
              <pc:docMk/>
              <pc:sldMasterMk cId="177247593" sldId="2147484117"/>
              <pc:sldLayoutMk cId="1247970421" sldId="2147483758"/>
              <ac:spMk id="32" creationId="{0B848C28-9BDB-47C1-A075-66DF181C851E}"/>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1616125159" sldId="2147483759"/>
          </pc:sldLayoutMkLst>
          <pc:spChg chg="mod">
            <ac:chgData name="Szabo, Corinne" userId="5f91d2e2-9041-4610-ba2d-7466ed1f64a1" providerId="ADAL" clId="{F9DC8332-650A-4F6E-AD93-DF41712C7C1D}" dt="2024-07-22T17:31:28.284" v="19"/>
            <ac:spMkLst>
              <pc:docMk/>
              <pc:sldMasterMk cId="177247593" sldId="2147484117"/>
              <pc:sldLayoutMk cId="1616125159" sldId="2147483759"/>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9" creationId="{3C1D3E4B-0D64-40F0-AC79-888818F0218E}"/>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0" creationId="{2EEF24B0-86DB-4133-A52A-91860B0B6B92}"/>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1" creationId="{E70D6935-7D5D-4F8A-B1A0-C2DE8D9BC0D3}"/>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2" creationId="{AFF59E31-7EC3-4842-9145-18C5D598D3FA}"/>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3" creationId="{E98825BD-BD06-4FF8-887D-04AD09F6BFB0}"/>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4" creationId="{B0B072B7-919F-4A5F-8E73-32A3494B9B0B}"/>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5" creationId="{3C85046A-F0E3-463A-A327-F0914544B359}"/>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6" creationId="{9A2755F2-3F8B-4F01-B60A-9E4A871E2785}"/>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7" creationId="{E295763F-8C67-4990-B9F8-6C1BEB29BBEA}"/>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8" creationId="{10628B55-B8EE-4E71-8015-9BA5618CAA6D}"/>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19" creationId="{913BD82C-0630-4AD8-A01D-E9A4806B1649}"/>
            </ac:spMkLst>
          </pc:spChg>
          <pc:spChg chg="mod">
            <ac:chgData name="Szabo, Corinne" userId="5f91d2e2-9041-4610-ba2d-7466ed1f64a1" providerId="ADAL" clId="{F9DC8332-650A-4F6E-AD93-DF41712C7C1D}" dt="2024-07-22T17:31:28.284" v="19"/>
            <ac:spMkLst>
              <pc:docMk/>
              <pc:sldMasterMk cId="177247593" sldId="2147484117"/>
              <pc:sldLayoutMk cId="1616125159" sldId="2147483759"/>
              <ac:spMk id="20" creationId="{907D664B-7697-4738-B049-760E0362D547}"/>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756646602" sldId="2147483760"/>
          </pc:sldLayoutMkLst>
          <pc:spChg chg="mod">
            <ac:chgData name="Szabo, Corinne" userId="5f91d2e2-9041-4610-ba2d-7466ed1f64a1" providerId="ADAL" clId="{F9DC8332-650A-4F6E-AD93-DF41712C7C1D}" dt="2024-07-22T17:31:28.284" v="19"/>
            <ac:spMkLst>
              <pc:docMk/>
              <pc:sldMasterMk cId="177247593" sldId="2147484117"/>
              <pc:sldLayoutMk cId="756646602" sldId="2147483760"/>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7" creationId="{E49FC8AB-615B-4FC8-B835-C931DAD57CE5}"/>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0" creationId="{2EEF24B0-86DB-4133-A52A-91860B0B6B92}"/>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1" creationId="{E70D6935-7D5D-4F8A-B1A0-C2DE8D9BC0D3}"/>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3" creationId="{E98825BD-BD06-4FF8-887D-04AD09F6BFB0}"/>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4" creationId="{B0B072B7-919F-4A5F-8E73-32A3494B9B0B}"/>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6" creationId="{9A2755F2-3F8B-4F01-B60A-9E4A871E2785}"/>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7" creationId="{E295763F-8C67-4990-B9F8-6C1BEB29BBEA}"/>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19" creationId="{913BD82C-0630-4AD8-A01D-E9A4806B1649}"/>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20" creationId="{907D664B-7697-4738-B049-760E0362D547}"/>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22" creationId="{E4274060-1F12-487F-9CE2-BCD7086CBCE8}"/>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26" creationId="{0F273126-DBF1-443F-A8F3-03725919BE12}"/>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27" creationId="{C24B6AA0-79F3-4590-8333-C9978F312AB6}"/>
            </ac:spMkLst>
          </pc:spChg>
          <pc:spChg chg="mod">
            <ac:chgData name="Szabo, Corinne" userId="5f91d2e2-9041-4610-ba2d-7466ed1f64a1" providerId="ADAL" clId="{F9DC8332-650A-4F6E-AD93-DF41712C7C1D}" dt="2024-07-22T17:31:28.284" v="19"/>
            <ac:spMkLst>
              <pc:docMk/>
              <pc:sldMasterMk cId="177247593" sldId="2147484117"/>
              <pc:sldLayoutMk cId="756646602" sldId="2147483760"/>
              <ac:spMk id="28" creationId="{71B63FD7-F875-41F1-9D8F-4C0EF37DDA06}"/>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4007352194" sldId="2147483761"/>
          </pc:sldLayoutMkLst>
          <pc:spChg chg="mod">
            <ac:chgData name="Szabo, Corinne" userId="5f91d2e2-9041-4610-ba2d-7466ed1f64a1" providerId="ADAL" clId="{F9DC8332-650A-4F6E-AD93-DF41712C7C1D}" dt="2024-07-22T17:31:28.284" v="19"/>
            <ac:spMkLst>
              <pc:docMk/>
              <pc:sldMasterMk cId="177247593" sldId="2147484117"/>
              <pc:sldLayoutMk cId="4007352194" sldId="2147483761"/>
              <ac:spMk id="2" creationId="{0B358BDB-BF07-4C04-BA3F-88BF71C7A70F}"/>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 creationId="{B1A16982-0955-4E60-B17F-26B37AF4499E}"/>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4" creationId="{1C890CFD-F1B2-481D-A9E8-E1CCAFE2E476}"/>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5" creationId="{ABDEA2D5-8CE6-4B1B-AAA6-EE330F2B6C88}"/>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10" creationId="{2EEF24B0-86DB-4133-A52A-91860B0B6B92}"/>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23" creationId="{953DA66B-137D-47B6-8DA7-27E06FF25956}"/>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24" creationId="{2D68E202-E76F-464A-B0C2-1E13376D70A6}"/>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25" creationId="{792B6F82-889B-4AF6-A746-F085DEB0873D}"/>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29" creationId="{137812CF-3B39-4CF8-8941-3C63B8EF9864}"/>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0" creationId="{0767E903-B71B-42DA-A479-12D005B44640}"/>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1" creationId="{9C127890-EEE2-4190-84FC-3C5E7F0A79DE}"/>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2" creationId="{7FC3F0A9-74C0-49CE-A6A2-C69FA56C7D19}"/>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3" creationId="{3A2EB497-5B25-4BA3-B39F-7AB104121238}"/>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4" creationId="{E666DFFB-216E-4DA9-B075-9D8F40308A94}"/>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5" creationId="{7F7D30A5-A4AF-488C-9EC9-A0CA69CF7013}"/>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6" creationId="{B3C49AA5-0A02-444B-BAA7-69D15A857167}"/>
            </ac:spMkLst>
          </pc:spChg>
          <pc:spChg chg="mod">
            <ac:chgData name="Szabo, Corinne" userId="5f91d2e2-9041-4610-ba2d-7466ed1f64a1" providerId="ADAL" clId="{F9DC8332-650A-4F6E-AD93-DF41712C7C1D}" dt="2024-07-22T17:31:28.284" v="19"/>
            <ac:spMkLst>
              <pc:docMk/>
              <pc:sldMasterMk cId="177247593" sldId="2147484117"/>
              <pc:sldLayoutMk cId="4007352194" sldId="2147483761"/>
              <ac:spMk id="37" creationId="{287F8DFF-A1F2-4618-A5A2-364AEEA76F47}"/>
            </ac:spMkLst>
          </pc:spChg>
        </pc:sldLayoutChg>
        <pc:sldLayoutChg chg="mod ord">
          <pc:chgData name="Szabo, Corinne" userId="5f91d2e2-9041-4610-ba2d-7466ed1f64a1" providerId="ADAL" clId="{F9DC8332-650A-4F6E-AD93-DF41712C7C1D}" dt="2024-07-22T17:31:28.284" v="19"/>
          <pc:sldLayoutMkLst>
            <pc:docMk/>
            <pc:sldMasterMk cId="177247593" sldId="2147484117"/>
            <pc:sldLayoutMk cId="3405124106" sldId="2147483762"/>
          </pc:sldLayoutMkLst>
        </pc:sldLayoutChg>
        <pc:sldLayoutChg chg="mod ord">
          <pc:chgData name="Szabo, Corinne" userId="5f91d2e2-9041-4610-ba2d-7466ed1f64a1" providerId="ADAL" clId="{F9DC8332-650A-4F6E-AD93-DF41712C7C1D}" dt="2024-07-22T17:31:28.284" v="19"/>
          <pc:sldLayoutMkLst>
            <pc:docMk/>
            <pc:sldMasterMk cId="177247593" sldId="2147484117"/>
            <pc:sldLayoutMk cId="396175213" sldId="2147483763"/>
          </pc:sldLayoutMkLst>
        </pc:sldLayoutChg>
        <pc:sldLayoutChg chg="modSp mod ord">
          <pc:chgData name="Szabo, Corinne" userId="5f91d2e2-9041-4610-ba2d-7466ed1f64a1" providerId="ADAL" clId="{F9DC8332-650A-4F6E-AD93-DF41712C7C1D}" dt="2024-07-22T17:31:28.284" v="19"/>
          <pc:sldLayoutMkLst>
            <pc:docMk/>
            <pc:sldMasterMk cId="177247593" sldId="2147484117"/>
            <pc:sldLayoutMk cId="3472339367" sldId="2147483764"/>
          </pc:sldLayoutMkLst>
          <pc:spChg chg="mod">
            <ac:chgData name="Szabo, Corinne" userId="5f91d2e2-9041-4610-ba2d-7466ed1f64a1" providerId="ADAL" clId="{F9DC8332-650A-4F6E-AD93-DF41712C7C1D}" dt="2024-07-22T17:31:28.284" v="19"/>
            <ac:spMkLst>
              <pc:docMk/>
              <pc:sldMasterMk cId="177247593" sldId="2147484117"/>
              <pc:sldLayoutMk cId="3472339367" sldId="2147483764"/>
              <ac:spMk id="42" creationId="{C23CEB04-B30B-4EB2-A0E6-C050ED0C3CA3}"/>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716009983" sldId="2147483765"/>
          </pc:sldLayoutMkLst>
          <pc:spChg chg="mod">
            <ac:chgData name="Szabo, Corinne" userId="5f91d2e2-9041-4610-ba2d-7466ed1f64a1" providerId="ADAL" clId="{F9DC8332-650A-4F6E-AD93-DF41712C7C1D}" dt="2024-07-22T17:31:28.284" v="19"/>
            <ac:spMkLst>
              <pc:docMk/>
              <pc:sldMasterMk cId="177247593" sldId="2147484117"/>
              <pc:sldLayoutMk cId="2716009983" sldId="2147483765"/>
              <ac:spMk id="10" creationId="{F4458531-4DF4-4B04-8685-64A0979C1949}"/>
            </ac:spMkLst>
          </pc:spChg>
          <pc:spChg chg="mod">
            <ac:chgData name="Szabo, Corinne" userId="5f91d2e2-9041-4610-ba2d-7466ed1f64a1" providerId="ADAL" clId="{F9DC8332-650A-4F6E-AD93-DF41712C7C1D}" dt="2024-07-22T17:31:28.284" v="19"/>
            <ac:spMkLst>
              <pc:docMk/>
              <pc:sldMasterMk cId="177247593" sldId="2147484117"/>
              <pc:sldLayoutMk cId="2716009983" sldId="2147483765"/>
              <ac:spMk id="11" creationId="{C3F5D30B-684A-44B7-B222-1EACC91C74F2}"/>
            </ac:spMkLst>
          </pc:spChg>
          <pc:spChg chg="mod">
            <ac:chgData name="Szabo, Corinne" userId="5f91d2e2-9041-4610-ba2d-7466ed1f64a1" providerId="ADAL" clId="{F9DC8332-650A-4F6E-AD93-DF41712C7C1D}" dt="2024-07-22T17:31:28.284" v="19"/>
            <ac:spMkLst>
              <pc:docMk/>
              <pc:sldMasterMk cId="177247593" sldId="2147484117"/>
              <pc:sldLayoutMk cId="2716009983" sldId="2147483765"/>
              <ac:spMk id="13" creationId="{C1954307-1534-478B-94B8-FE9E1F84DE3F}"/>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154736039" sldId="2147483766"/>
          </pc:sldLayoutMkLst>
          <pc:spChg chg="mod">
            <ac:chgData name="Szabo, Corinne" userId="5f91d2e2-9041-4610-ba2d-7466ed1f64a1" providerId="ADAL" clId="{F9DC8332-650A-4F6E-AD93-DF41712C7C1D}" dt="2024-07-22T17:31:28.284" v="19"/>
            <ac:spMkLst>
              <pc:docMk/>
              <pc:sldMasterMk cId="177247593" sldId="2147484117"/>
              <pc:sldLayoutMk cId="154736039" sldId="2147483766"/>
              <ac:spMk id="10" creationId="{F4458531-4DF4-4B04-8685-64A0979C1949}"/>
            </ac:spMkLst>
          </pc:spChg>
        </pc:sldLayoutChg>
        <pc:sldLayoutChg chg="mod ord">
          <pc:chgData name="Szabo, Corinne" userId="5f91d2e2-9041-4610-ba2d-7466ed1f64a1" providerId="ADAL" clId="{F9DC8332-650A-4F6E-AD93-DF41712C7C1D}" dt="2024-07-22T17:31:28.284" v="19"/>
          <pc:sldLayoutMkLst>
            <pc:docMk/>
            <pc:sldMasterMk cId="177247593" sldId="2147484117"/>
            <pc:sldLayoutMk cId="2094569292" sldId="2147483767"/>
          </pc:sldLayoutMkLst>
        </pc:sldLayoutChg>
        <pc:sldLayoutChg chg="modSp mod ord">
          <pc:chgData name="Szabo, Corinne" userId="5f91d2e2-9041-4610-ba2d-7466ed1f64a1" providerId="ADAL" clId="{F9DC8332-650A-4F6E-AD93-DF41712C7C1D}" dt="2024-07-22T17:31:28.284" v="19"/>
          <pc:sldLayoutMkLst>
            <pc:docMk/>
            <pc:sldMasterMk cId="177247593" sldId="2147484117"/>
            <pc:sldLayoutMk cId="1817011085" sldId="2147483768"/>
          </pc:sldLayoutMkLst>
          <pc:spChg chg="mod">
            <ac:chgData name="Szabo, Corinne" userId="5f91d2e2-9041-4610-ba2d-7466ed1f64a1" providerId="ADAL" clId="{F9DC8332-650A-4F6E-AD93-DF41712C7C1D}" dt="2024-07-22T17:31:28.284" v="19"/>
            <ac:spMkLst>
              <pc:docMk/>
              <pc:sldMasterMk cId="177247593" sldId="2147484117"/>
              <pc:sldLayoutMk cId="1817011085" sldId="2147483768"/>
              <ac:spMk id="38" creationId="{64D2AAD9-88DD-4E7E-86F5-8F6ED1272A20}"/>
            </ac:spMkLst>
          </pc:spChg>
        </pc:sldLayoutChg>
        <pc:sldLayoutChg chg="modSp mod ord">
          <pc:chgData name="Szabo, Corinne" userId="5f91d2e2-9041-4610-ba2d-7466ed1f64a1" providerId="ADAL" clId="{F9DC8332-650A-4F6E-AD93-DF41712C7C1D}" dt="2024-07-22T17:31:28.284" v="19"/>
          <pc:sldLayoutMkLst>
            <pc:docMk/>
            <pc:sldMasterMk cId="177247593" sldId="2147484117"/>
            <pc:sldLayoutMk cId="2234504503" sldId="2147483769"/>
          </pc:sldLayoutMkLst>
          <pc:spChg chg="mod">
            <ac:chgData name="Szabo, Corinne" userId="5f91d2e2-9041-4610-ba2d-7466ed1f64a1" providerId="ADAL" clId="{F9DC8332-650A-4F6E-AD93-DF41712C7C1D}" dt="2024-07-22T17:31:28.284" v="19"/>
            <ac:spMkLst>
              <pc:docMk/>
              <pc:sldMasterMk cId="177247593" sldId="2147484117"/>
              <pc:sldLayoutMk cId="2234504503" sldId="2147483769"/>
              <ac:spMk id="61" creationId="{CE0E37DE-4B8B-4F29-AC85-174442D316D7}"/>
            </ac:spMkLst>
          </pc:spChg>
        </pc:sldLayoutChg>
      </pc:sldMasterChg>
      <pc:sldMasterChg chg="del delSldLayout">
        <pc:chgData name="Szabo, Corinne" userId="5f91d2e2-9041-4610-ba2d-7466ed1f64a1" providerId="ADAL" clId="{F9DC8332-650A-4F6E-AD93-DF41712C7C1D}" dt="2024-07-22T17:31:28.156" v="16"/>
        <pc:sldMasterMkLst>
          <pc:docMk/>
          <pc:sldMasterMk cId="2245785329" sldId="2147484124"/>
        </pc:sldMasterMkLst>
        <pc:sldLayoutChg chg="del">
          <pc:chgData name="Szabo, Corinne" userId="5f91d2e2-9041-4610-ba2d-7466ed1f64a1" providerId="ADAL" clId="{F9DC8332-650A-4F6E-AD93-DF41712C7C1D}" dt="2024-07-22T17:31:28.156" v="16"/>
          <pc:sldLayoutMkLst>
            <pc:docMk/>
            <pc:sldMasterMk cId="2245785329" sldId="2147484124"/>
            <pc:sldLayoutMk cId="1394581737" sldId="2147484125"/>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776308705" sldId="2147484126"/>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342869888" sldId="2147484127"/>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1695265782" sldId="2147484128"/>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218502628" sldId="2147484129"/>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2012965941" sldId="2147484130"/>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3019085344" sldId="2147484131"/>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1197611019" sldId="2147484132"/>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3817712235" sldId="2147484133"/>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3395030708" sldId="2147484134"/>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2661333704" sldId="2147484135"/>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229847290" sldId="2147484136"/>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2125322078" sldId="2147484137"/>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642420192" sldId="2147484138"/>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674807577" sldId="2147484139"/>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1199178359" sldId="2147484140"/>
          </pc:sldLayoutMkLst>
        </pc:sldLayoutChg>
        <pc:sldLayoutChg chg="del">
          <pc:chgData name="Szabo, Corinne" userId="5f91d2e2-9041-4610-ba2d-7466ed1f64a1" providerId="ADAL" clId="{F9DC8332-650A-4F6E-AD93-DF41712C7C1D}" dt="2024-07-22T17:31:28.156" v="16"/>
          <pc:sldLayoutMkLst>
            <pc:docMk/>
            <pc:sldMasterMk cId="2245785329" sldId="2147484124"/>
            <pc:sldLayoutMk cId="1442647608" sldId="2147484141"/>
          </pc:sldLayoutMkLst>
        </pc:sldLayoutChg>
      </pc:sldMasterChg>
      <pc:sldMasterChg chg="del sldLayoutOrd">
        <pc:chgData name="Szabo, Corinne" userId="5f91d2e2-9041-4610-ba2d-7466ed1f64a1" providerId="ADAL" clId="{F9DC8332-650A-4F6E-AD93-DF41712C7C1D}" dt="2024-07-22T17:31:28.398" v="24"/>
        <pc:sldMasterMkLst>
          <pc:docMk/>
          <pc:sldMasterMk cId="3003856864" sldId="2147484362"/>
        </pc:sldMasterMkLst>
      </pc:sldMasterChg>
      <pc:sldMasterChg chg="del delSldLayout">
        <pc:chgData name="Szabo, Corinne" userId="5f91d2e2-9041-4610-ba2d-7466ed1f64a1" providerId="ADAL" clId="{F9DC8332-650A-4F6E-AD93-DF41712C7C1D}" dt="2024-07-22T17:31:28.157" v="17"/>
        <pc:sldMasterMkLst>
          <pc:docMk/>
          <pc:sldMasterMk cId="1188313508" sldId="2147484395"/>
        </pc:sldMasterMkLst>
        <pc:sldLayoutChg chg="del">
          <pc:chgData name="Szabo, Corinne" userId="5f91d2e2-9041-4610-ba2d-7466ed1f64a1" providerId="ADAL" clId="{F9DC8332-650A-4F6E-AD93-DF41712C7C1D}" dt="2024-07-22T17:31:28.157" v="17"/>
          <pc:sldLayoutMkLst>
            <pc:docMk/>
            <pc:sldMasterMk cId="1188313508" sldId="2147484395"/>
            <pc:sldLayoutMk cId="2893844476" sldId="2147484396"/>
          </pc:sldLayoutMkLst>
        </pc:sldLayoutChg>
        <pc:sldLayoutChg chg="del">
          <pc:chgData name="Szabo, Corinne" userId="5f91d2e2-9041-4610-ba2d-7466ed1f64a1" providerId="ADAL" clId="{F9DC8332-650A-4F6E-AD93-DF41712C7C1D}" dt="2024-07-22T17:31:28.157" v="17"/>
          <pc:sldLayoutMkLst>
            <pc:docMk/>
            <pc:sldMasterMk cId="1188313508" sldId="2147484395"/>
            <pc:sldLayoutMk cId="4290994504" sldId="2147484397"/>
          </pc:sldLayoutMkLst>
        </pc:sldLayoutChg>
        <pc:sldLayoutChg chg="del">
          <pc:chgData name="Szabo, Corinne" userId="5f91d2e2-9041-4610-ba2d-7466ed1f64a1" providerId="ADAL" clId="{F9DC8332-650A-4F6E-AD93-DF41712C7C1D}" dt="2024-07-22T17:31:28.157" v="17"/>
          <pc:sldLayoutMkLst>
            <pc:docMk/>
            <pc:sldMasterMk cId="1188313508" sldId="2147484395"/>
            <pc:sldLayoutMk cId="3343415225" sldId="2147484398"/>
          </pc:sldLayoutMkLst>
        </pc:sldLayoutChg>
      </pc:sldMasterChg>
      <pc:sldMasterChg chg="del delSldLayout modSldLayout sldLayoutOrd">
        <pc:chgData name="Szabo, Corinne" userId="5f91d2e2-9041-4610-ba2d-7466ed1f64a1" providerId="ADAL" clId="{F9DC8332-650A-4F6E-AD93-DF41712C7C1D}" dt="2024-07-22T17:43:43.969" v="164" actId="47"/>
        <pc:sldMasterMkLst>
          <pc:docMk/>
          <pc:sldMasterMk cId="1069243298" sldId="2147484504"/>
        </pc:sldMasterMkLst>
        <pc:sldLayoutChg chg="del">
          <pc:chgData name="Szabo, Corinne" userId="5f91d2e2-9041-4610-ba2d-7466ed1f64a1" providerId="ADAL" clId="{F9DC8332-650A-4F6E-AD93-DF41712C7C1D}" dt="2024-07-22T17:43:43.969" v="164" actId="47"/>
          <pc:sldLayoutMkLst>
            <pc:docMk/>
            <pc:sldMasterMk cId="1069243298" sldId="2147484504"/>
            <pc:sldLayoutMk cId="3058269450" sldId="2147484505"/>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3542955069" sldId="2147484506"/>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3095891685" sldId="2147484507"/>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2307098082" sldId="2147484508"/>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1139904789" sldId="2147484509"/>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1430451803" sldId="2147484510"/>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2134477028" sldId="2147484511"/>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1500377985" sldId="2147484512"/>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3888055579" sldId="2147484513"/>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548845986" sldId="2147484514"/>
          </pc:sldLayoutMkLst>
        </pc:sldLayoutChg>
        <pc:sldLayoutChg chg="del">
          <pc:chgData name="Szabo, Corinne" userId="5f91d2e2-9041-4610-ba2d-7466ed1f64a1" providerId="ADAL" clId="{F9DC8332-650A-4F6E-AD93-DF41712C7C1D}" dt="2024-07-22T17:43:43.969" v="164" actId="47"/>
          <pc:sldLayoutMkLst>
            <pc:docMk/>
            <pc:sldMasterMk cId="1069243298" sldId="2147484504"/>
            <pc:sldLayoutMk cId="2063375939" sldId="2147484515"/>
          </pc:sldLayoutMkLst>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2607955924" sldId="2147484649"/>
          </pc:sldLayoutMkLst>
          <pc:spChg chg="mod">
            <ac:chgData name="Szabo, Corinne" userId="5f91d2e2-9041-4610-ba2d-7466ed1f64a1" providerId="ADAL" clId="{F9DC8332-650A-4F6E-AD93-DF41712C7C1D}" dt="2024-07-22T17:31:28.310" v="22"/>
            <ac:spMkLst>
              <pc:docMk/>
              <pc:sldMasterMk cId="1069243298" sldId="2147484504"/>
              <pc:sldLayoutMk cId="2607955924" sldId="2147484649"/>
              <ac:spMk id="2" creationId="{4120FDE3-AC2E-539D-7840-C97EB2134DB5}"/>
            </ac:spMkLst>
          </pc:spChg>
          <pc:spChg chg="mod">
            <ac:chgData name="Szabo, Corinne" userId="5f91d2e2-9041-4610-ba2d-7466ed1f64a1" providerId="ADAL" clId="{F9DC8332-650A-4F6E-AD93-DF41712C7C1D}" dt="2024-07-22T17:31:28.310" v="22"/>
            <ac:spMkLst>
              <pc:docMk/>
              <pc:sldMasterMk cId="1069243298" sldId="2147484504"/>
              <pc:sldLayoutMk cId="2607955924" sldId="2147484649"/>
              <ac:spMk id="3" creationId="{B37B85A6-0EE2-942F-836B-D7B3218A6F15}"/>
            </ac:spMkLst>
          </pc:spChg>
          <pc:spChg chg="mod">
            <ac:chgData name="Szabo, Corinne" userId="5f91d2e2-9041-4610-ba2d-7466ed1f64a1" providerId="ADAL" clId="{F9DC8332-650A-4F6E-AD93-DF41712C7C1D}" dt="2024-07-22T17:31:28.310" v="22"/>
            <ac:spMkLst>
              <pc:docMk/>
              <pc:sldMasterMk cId="1069243298" sldId="2147484504"/>
              <pc:sldLayoutMk cId="2607955924" sldId="2147484649"/>
              <ac:spMk id="4" creationId="{A3F6DA89-F6FD-18E9-E4DB-7992D6C1DA51}"/>
            </ac:spMkLst>
          </pc:spChg>
          <pc:spChg chg="mod">
            <ac:chgData name="Szabo, Corinne" userId="5f91d2e2-9041-4610-ba2d-7466ed1f64a1" providerId="ADAL" clId="{F9DC8332-650A-4F6E-AD93-DF41712C7C1D}" dt="2024-07-22T17:31:28.310" v="22"/>
            <ac:spMkLst>
              <pc:docMk/>
              <pc:sldMasterMk cId="1069243298" sldId="2147484504"/>
              <pc:sldLayoutMk cId="2607955924" sldId="2147484649"/>
              <ac:spMk id="5" creationId="{12093F22-DFF4-DF70-852E-F4B0C010A980}"/>
            </ac:spMkLst>
          </pc:spChg>
          <pc:spChg chg="mod">
            <ac:chgData name="Szabo, Corinne" userId="5f91d2e2-9041-4610-ba2d-7466ed1f64a1" providerId="ADAL" clId="{F9DC8332-650A-4F6E-AD93-DF41712C7C1D}" dt="2024-07-22T17:31:28.310" v="22"/>
            <ac:spMkLst>
              <pc:docMk/>
              <pc:sldMasterMk cId="1069243298" sldId="2147484504"/>
              <pc:sldLayoutMk cId="2607955924" sldId="2147484649"/>
              <ac:spMk id="6" creationId="{A3673B30-6C68-BBD1-3B5D-59AF80DF812A}"/>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3676141558" sldId="2147484650"/>
          </pc:sldLayoutMkLst>
          <pc:spChg chg="mod">
            <ac:chgData name="Szabo, Corinne" userId="5f91d2e2-9041-4610-ba2d-7466ed1f64a1" providerId="ADAL" clId="{F9DC8332-650A-4F6E-AD93-DF41712C7C1D}" dt="2024-07-22T17:31:28.310" v="22"/>
            <ac:spMkLst>
              <pc:docMk/>
              <pc:sldMasterMk cId="1069243298" sldId="2147484504"/>
              <pc:sldLayoutMk cId="3676141558" sldId="2147484650"/>
              <ac:spMk id="2" creationId="{A7343A04-17A2-6499-FF4E-6DF0B7B604A6}"/>
            </ac:spMkLst>
          </pc:spChg>
          <pc:spChg chg="mod">
            <ac:chgData name="Szabo, Corinne" userId="5f91d2e2-9041-4610-ba2d-7466ed1f64a1" providerId="ADAL" clId="{F9DC8332-650A-4F6E-AD93-DF41712C7C1D}" dt="2024-07-22T17:31:28.310" v="22"/>
            <ac:spMkLst>
              <pc:docMk/>
              <pc:sldMasterMk cId="1069243298" sldId="2147484504"/>
              <pc:sldLayoutMk cId="3676141558" sldId="2147484650"/>
              <ac:spMk id="3" creationId="{A10EFE05-979B-880F-F95C-D1B42F0A174E}"/>
            </ac:spMkLst>
          </pc:spChg>
          <pc:spChg chg="mod">
            <ac:chgData name="Szabo, Corinne" userId="5f91d2e2-9041-4610-ba2d-7466ed1f64a1" providerId="ADAL" clId="{F9DC8332-650A-4F6E-AD93-DF41712C7C1D}" dt="2024-07-22T17:31:28.310" v="22"/>
            <ac:spMkLst>
              <pc:docMk/>
              <pc:sldMasterMk cId="1069243298" sldId="2147484504"/>
              <pc:sldLayoutMk cId="3676141558" sldId="2147484650"/>
              <ac:spMk id="4" creationId="{9377A8A8-FD89-0661-FB91-282834707A73}"/>
            </ac:spMkLst>
          </pc:spChg>
          <pc:spChg chg="mod">
            <ac:chgData name="Szabo, Corinne" userId="5f91d2e2-9041-4610-ba2d-7466ed1f64a1" providerId="ADAL" clId="{F9DC8332-650A-4F6E-AD93-DF41712C7C1D}" dt="2024-07-22T17:31:28.310" v="22"/>
            <ac:spMkLst>
              <pc:docMk/>
              <pc:sldMasterMk cId="1069243298" sldId="2147484504"/>
              <pc:sldLayoutMk cId="3676141558" sldId="2147484650"/>
              <ac:spMk id="5" creationId="{9C6453BA-440E-AFE7-616E-3860A628A190}"/>
            </ac:spMkLst>
          </pc:spChg>
          <pc:spChg chg="mod">
            <ac:chgData name="Szabo, Corinne" userId="5f91d2e2-9041-4610-ba2d-7466ed1f64a1" providerId="ADAL" clId="{F9DC8332-650A-4F6E-AD93-DF41712C7C1D}" dt="2024-07-22T17:31:28.310" v="22"/>
            <ac:spMkLst>
              <pc:docMk/>
              <pc:sldMasterMk cId="1069243298" sldId="2147484504"/>
              <pc:sldLayoutMk cId="3676141558" sldId="2147484650"/>
              <ac:spMk id="6" creationId="{158B0D76-A9A0-310C-D09B-787DC7850D29}"/>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2220001536" sldId="2147484651"/>
          </pc:sldLayoutMkLst>
          <pc:spChg chg="mod">
            <ac:chgData name="Szabo, Corinne" userId="5f91d2e2-9041-4610-ba2d-7466ed1f64a1" providerId="ADAL" clId="{F9DC8332-650A-4F6E-AD93-DF41712C7C1D}" dt="2024-07-22T17:31:28.310" v="22"/>
            <ac:spMkLst>
              <pc:docMk/>
              <pc:sldMasterMk cId="1069243298" sldId="2147484504"/>
              <pc:sldLayoutMk cId="2220001536" sldId="2147484651"/>
              <ac:spMk id="2" creationId="{9DC34B2D-CEA9-652B-3D0F-C5FFF2C49E16}"/>
            </ac:spMkLst>
          </pc:spChg>
          <pc:spChg chg="mod">
            <ac:chgData name="Szabo, Corinne" userId="5f91d2e2-9041-4610-ba2d-7466ed1f64a1" providerId="ADAL" clId="{F9DC8332-650A-4F6E-AD93-DF41712C7C1D}" dt="2024-07-22T17:31:28.310" v="22"/>
            <ac:spMkLst>
              <pc:docMk/>
              <pc:sldMasterMk cId="1069243298" sldId="2147484504"/>
              <pc:sldLayoutMk cId="2220001536" sldId="2147484651"/>
              <ac:spMk id="3" creationId="{E759FEBC-4F90-202E-09A1-5392BEAFFFC8}"/>
            </ac:spMkLst>
          </pc:spChg>
          <pc:spChg chg="mod">
            <ac:chgData name="Szabo, Corinne" userId="5f91d2e2-9041-4610-ba2d-7466ed1f64a1" providerId="ADAL" clId="{F9DC8332-650A-4F6E-AD93-DF41712C7C1D}" dt="2024-07-22T17:31:28.310" v="22"/>
            <ac:spMkLst>
              <pc:docMk/>
              <pc:sldMasterMk cId="1069243298" sldId="2147484504"/>
              <pc:sldLayoutMk cId="2220001536" sldId="2147484651"/>
              <ac:spMk id="4" creationId="{C6B1E409-E1A4-F50F-7B58-0ED81B7157DC}"/>
            </ac:spMkLst>
          </pc:spChg>
          <pc:spChg chg="mod">
            <ac:chgData name="Szabo, Corinne" userId="5f91d2e2-9041-4610-ba2d-7466ed1f64a1" providerId="ADAL" clId="{F9DC8332-650A-4F6E-AD93-DF41712C7C1D}" dt="2024-07-22T17:31:28.310" v="22"/>
            <ac:spMkLst>
              <pc:docMk/>
              <pc:sldMasterMk cId="1069243298" sldId="2147484504"/>
              <pc:sldLayoutMk cId="2220001536" sldId="2147484651"/>
              <ac:spMk id="5" creationId="{DAC3D5C5-21AD-FE18-935D-CE7C73EC2FF3}"/>
            </ac:spMkLst>
          </pc:spChg>
          <pc:spChg chg="mod">
            <ac:chgData name="Szabo, Corinne" userId="5f91d2e2-9041-4610-ba2d-7466ed1f64a1" providerId="ADAL" clId="{F9DC8332-650A-4F6E-AD93-DF41712C7C1D}" dt="2024-07-22T17:31:28.310" v="22"/>
            <ac:spMkLst>
              <pc:docMk/>
              <pc:sldMasterMk cId="1069243298" sldId="2147484504"/>
              <pc:sldLayoutMk cId="2220001536" sldId="2147484651"/>
              <ac:spMk id="6" creationId="{816A2052-AA70-2A6E-4A2A-3D7918DE9187}"/>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1381641432" sldId="2147484652"/>
          </pc:sldLayoutMkLst>
          <pc:spChg chg="mod">
            <ac:chgData name="Szabo, Corinne" userId="5f91d2e2-9041-4610-ba2d-7466ed1f64a1" providerId="ADAL" clId="{F9DC8332-650A-4F6E-AD93-DF41712C7C1D}" dt="2024-07-22T17:31:28.310" v="22"/>
            <ac:spMkLst>
              <pc:docMk/>
              <pc:sldMasterMk cId="1069243298" sldId="2147484504"/>
              <pc:sldLayoutMk cId="1381641432" sldId="2147484652"/>
              <ac:spMk id="2" creationId="{2DF0A841-5709-6CA1-4A27-527CE8DA5677}"/>
            </ac:spMkLst>
          </pc:spChg>
          <pc:spChg chg="mod">
            <ac:chgData name="Szabo, Corinne" userId="5f91d2e2-9041-4610-ba2d-7466ed1f64a1" providerId="ADAL" clId="{F9DC8332-650A-4F6E-AD93-DF41712C7C1D}" dt="2024-07-22T17:31:28.310" v="22"/>
            <ac:spMkLst>
              <pc:docMk/>
              <pc:sldMasterMk cId="1069243298" sldId="2147484504"/>
              <pc:sldLayoutMk cId="1381641432" sldId="2147484652"/>
              <ac:spMk id="3" creationId="{B4B1EEA6-6D4F-B712-E200-98C597277B79}"/>
            </ac:spMkLst>
          </pc:spChg>
          <pc:spChg chg="mod">
            <ac:chgData name="Szabo, Corinne" userId="5f91d2e2-9041-4610-ba2d-7466ed1f64a1" providerId="ADAL" clId="{F9DC8332-650A-4F6E-AD93-DF41712C7C1D}" dt="2024-07-22T17:31:28.310" v="22"/>
            <ac:spMkLst>
              <pc:docMk/>
              <pc:sldMasterMk cId="1069243298" sldId="2147484504"/>
              <pc:sldLayoutMk cId="1381641432" sldId="2147484652"/>
              <ac:spMk id="4" creationId="{E9A4B725-E4D0-589A-D3BE-EEE5003DDA62}"/>
            </ac:spMkLst>
          </pc:spChg>
          <pc:spChg chg="mod">
            <ac:chgData name="Szabo, Corinne" userId="5f91d2e2-9041-4610-ba2d-7466ed1f64a1" providerId="ADAL" clId="{F9DC8332-650A-4F6E-AD93-DF41712C7C1D}" dt="2024-07-22T17:31:28.310" v="22"/>
            <ac:spMkLst>
              <pc:docMk/>
              <pc:sldMasterMk cId="1069243298" sldId="2147484504"/>
              <pc:sldLayoutMk cId="1381641432" sldId="2147484652"/>
              <ac:spMk id="5" creationId="{C33098AE-D5A6-D4DF-6A73-F46F7F304EDD}"/>
            </ac:spMkLst>
          </pc:spChg>
          <pc:spChg chg="mod">
            <ac:chgData name="Szabo, Corinne" userId="5f91d2e2-9041-4610-ba2d-7466ed1f64a1" providerId="ADAL" clId="{F9DC8332-650A-4F6E-AD93-DF41712C7C1D}" dt="2024-07-22T17:31:28.310" v="22"/>
            <ac:spMkLst>
              <pc:docMk/>
              <pc:sldMasterMk cId="1069243298" sldId="2147484504"/>
              <pc:sldLayoutMk cId="1381641432" sldId="2147484652"/>
              <ac:spMk id="6" creationId="{33B8ABFA-D5A8-4714-48EA-EE87E9358C36}"/>
            </ac:spMkLst>
          </pc:spChg>
          <pc:spChg chg="mod">
            <ac:chgData name="Szabo, Corinne" userId="5f91d2e2-9041-4610-ba2d-7466ed1f64a1" providerId="ADAL" clId="{F9DC8332-650A-4F6E-AD93-DF41712C7C1D}" dt="2024-07-22T17:31:28.310" v="22"/>
            <ac:spMkLst>
              <pc:docMk/>
              <pc:sldMasterMk cId="1069243298" sldId="2147484504"/>
              <pc:sldLayoutMk cId="1381641432" sldId="2147484652"/>
              <ac:spMk id="7" creationId="{4CF735CA-46D2-FA51-86D4-9599CFB190A9}"/>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87870493" sldId="2147484653"/>
          </pc:sldLayoutMkLst>
          <pc:spChg chg="mod">
            <ac:chgData name="Szabo, Corinne" userId="5f91d2e2-9041-4610-ba2d-7466ed1f64a1" providerId="ADAL" clId="{F9DC8332-650A-4F6E-AD93-DF41712C7C1D}" dt="2024-07-22T17:31:28.310" v="22"/>
            <ac:spMkLst>
              <pc:docMk/>
              <pc:sldMasterMk cId="1069243298" sldId="2147484504"/>
              <pc:sldLayoutMk cId="87870493" sldId="2147484653"/>
              <ac:spMk id="2" creationId="{3583CD9F-B25A-C3EA-A090-6525B043C2A0}"/>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3" creationId="{89E7B198-7C84-2ED4-3D35-48B19D738AA9}"/>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4" creationId="{D84B5930-56FF-E3CE-AB0B-405F799D0643}"/>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5" creationId="{9BE11E9F-7B13-97A6-DAD7-7EBCBBB6FC3F}"/>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6" creationId="{066A0BCE-D67F-AE8B-AF34-933A09CB6EBC}"/>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7" creationId="{594418E2-B64E-44A9-385E-5B5D25D3F056}"/>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8" creationId="{08D4B50C-3402-0927-11A2-18CAEBC42A45}"/>
            </ac:spMkLst>
          </pc:spChg>
          <pc:spChg chg="mod">
            <ac:chgData name="Szabo, Corinne" userId="5f91d2e2-9041-4610-ba2d-7466ed1f64a1" providerId="ADAL" clId="{F9DC8332-650A-4F6E-AD93-DF41712C7C1D}" dt="2024-07-22T17:31:28.310" v="22"/>
            <ac:spMkLst>
              <pc:docMk/>
              <pc:sldMasterMk cId="1069243298" sldId="2147484504"/>
              <pc:sldLayoutMk cId="87870493" sldId="2147484653"/>
              <ac:spMk id="9" creationId="{73988011-C268-4064-8BBC-B00487A18195}"/>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2524021669" sldId="2147484654"/>
          </pc:sldLayoutMkLst>
          <pc:spChg chg="mod">
            <ac:chgData name="Szabo, Corinne" userId="5f91d2e2-9041-4610-ba2d-7466ed1f64a1" providerId="ADAL" clId="{F9DC8332-650A-4F6E-AD93-DF41712C7C1D}" dt="2024-07-22T17:31:28.310" v="22"/>
            <ac:spMkLst>
              <pc:docMk/>
              <pc:sldMasterMk cId="1069243298" sldId="2147484504"/>
              <pc:sldLayoutMk cId="2524021669" sldId="2147484654"/>
              <ac:spMk id="2" creationId="{67CDB081-615A-0705-9EB2-CA7D629F952F}"/>
            </ac:spMkLst>
          </pc:spChg>
          <pc:spChg chg="mod">
            <ac:chgData name="Szabo, Corinne" userId="5f91d2e2-9041-4610-ba2d-7466ed1f64a1" providerId="ADAL" clId="{F9DC8332-650A-4F6E-AD93-DF41712C7C1D}" dt="2024-07-22T17:31:28.310" v="22"/>
            <ac:spMkLst>
              <pc:docMk/>
              <pc:sldMasterMk cId="1069243298" sldId="2147484504"/>
              <pc:sldLayoutMk cId="2524021669" sldId="2147484654"/>
              <ac:spMk id="3" creationId="{C5E8F944-4B4E-F6F6-9180-A9ACE2A90433}"/>
            </ac:spMkLst>
          </pc:spChg>
          <pc:spChg chg="mod">
            <ac:chgData name="Szabo, Corinne" userId="5f91d2e2-9041-4610-ba2d-7466ed1f64a1" providerId="ADAL" clId="{F9DC8332-650A-4F6E-AD93-DF41712C7C1D}" dt="2024-07-22T17:31:28.310" v="22"/>
            <ac:spMkLst>
              <pc:docMk/>
              <pc:sldMasterMk cId="1069243298" sldId="2147484504"/>
              <pc:sldLayoutMk cId="2524021669" sldId="2147484654"/>
              <ac:spMk id="4" creationId="{F604CC97-06B5-96F0-1C06-C69B1344B8A6}"/>
            </ac:spMkLst>
          </pc:spChg>
          <pc:spChg chg="mod">
            <ac:chgData name="Szabo, Corinne" userId="5f91d2e2-9041-4610-ba2d-7466ed1f64a1" providerId="ADAL" clId="{F9DC8332-650A-4F6E-AD93-DF41712C7C1D}" dt="2024-07-22T17:31:28.310" v="22"/>
            <ac:spMkLst>
              <pc:docMk/>
              <pc:sldMasterMk cId="1069243298" sldId="2147484504"/>
              <pc:sldLayoutMk cId="2524021669" sldId="2147484654"/>
              <ac:spMk id="5" creationId="{504C14BC-3A1D-4C18-7FA4-4F9EE077AE85}"/>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1468023613" sldId="2147484655"/>
          </pc:sldLayoutMkLst>
          <pc:spChg chg="mod">
            <ac:chgData name="Szabo, Corinne" userId="5f91d2e2-9041-4610-ba2d-7466ed1f64a1" providerId="ADAL" clId="{F9DC8332-650A-4F6E-AD93-DF41712C7C1D}" dt="2024-07-22T17:31:28.310" v="22"/>
            <ac:spMkLst>
              <pc:docMk/>
              <pc:sldMasterMk cId="1069243298" sldId="2147484504"/>
              <pc:sldLayoutMk cId="1468023613" sldId="2147484655"/>
              <ac:spMk id="2" creationId="{269CA501-C313-9130-F9D6-C81E1A6B59AA}"/>
            </ac:spMkLst>
          </pc:spChg>
          <pc:spChg chg="mod">
            <ac:chgData name="Szabo, Corinne" userId="5f91d2e2-9041-4610-ba2d-7466ed1f64a1" providerId="ADAL" clId="{F9DC8332-650A-4F6E-AD93-DF41712C7C1D}" dt="2024-07-22T17:31:28.310" v="22"/>
            <ac:spMkLst>
              <pc:docMk/>
              <pc:sldMasterMk cId="1069243298" sldId="2147484504"/>
              <pc:sldLayoutMk cId="1468023613" sldId="2147484655"/>
              <ac:spMk id="3" creationId="{764D6D6F-BE07-ACD0-0BA6-5667A0CF1EDE}"/>
            </ac:spMkLst>
          </pc:spChg>
          <pc:spChg chg="mod">
            <ac:chgData name="Szabo, Corinne" userId="5f91d2e2-9041-4610-ba2d-7466ed1f64a1" providerId="ADAL" clId="{F9DC8332-650A-4F6E-AD93-DF41712C7C1D}" dt="2024-07-22T17:31:28.310" v="22"/>
            <ac:spMkLst>
              <pc:docMk/>
              <pc:sldMasterMk cId="1069243298" sldId="2147484504"/>
              <pc:sldLayoutMk cId="1468023613" sldId="2147484655"/>
              <ac:spMk id="4" creationId="{2AD78C47-61D3-7BDE-F549-DC71EDAC764B}"/>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471799383" sldId="2147484656"/>
          </pc:sldLayoutMkLst>
          <pc:spChg chg="mod">
            <ac:chgData name="Szabo, Corinne" userId="5f91d2e2-9041-4610-ba2d-7466ed1f64a1" providerId="ADAL" clId="{F9DC8332-650A-4F6E-AD93-DF41712C7C1D}" dt="2024-07-22T17:31:28.310" v="22"/>
            <ac:spMkLst>
              <pc:docMk/>
              <pc:sldMasterMk cId="1069243298" sldId="2147484504"/>
              <pc:sldLayoutMk cId="471799383" sldId="2147484656"/>
              <ac:spMk id="2" creationId="{F6567EDC-3164-2E32-AC57-0FF969C9C8A0}"/>
            </ac:spMkLst>
          </pc:spChg>
          <pc:spChg chg="mod">
            <ac:chgData name="Szabo, Corinne" userId="5f91d2e2-9041-4610-ba2d-7466ed1f64a1" providerId="ADAL" clId="{F9DC8332-650A-4F6E-AD93-DF41712C7C1D}" dt="2024-07-22T17:31:28.310" v="22"/>
            <ac:spMkLst>
              <pc:docMk/>
              <pc:sldMasterMk cId="1069243298" sldId="2147484504"/>
              <pc:sldLayoutMk cId="471799383" sldId="2147484656"/>
              <ac:spMk id="3" creationId="{6FF8C344-CD41-2B53-2ABC-ED45C3294D85}"/>
            </ac:spMkLst>
          </pc:spChg>
          <pc:spChg chg="mod">
            <ac:chgData name="Szabo, Corinne" userId="5f91d2e2-9041-4610-ba2d-7466ed1f64a1" providerId="ADAL" clId="{F9DC8332-650A-4F6E-AD93-DF41712C7C1D}" dt="2024-07-22T17:31:28.310" v="22"/>
            <ac:spMkLst>
              <pc:docMk/>
              <pc:sldMasterMk cId="1069243298" sldId="2147484504"/>
              <pc:sldLayoutMk cId="471799383" sldId="2147484656"/>
              <ac:spMk id="4" creationId="{3DD0D216-C435-13E3-1D5C-E97850EBAFC8}"/>
            </ac:spMkLst>
          </pc:spChg>
          <pc:spChg chg="mod">
            <ac:chgData name="Szabo, Corinne" userId="5f91d2e2-9041-4610-ba2d-7466ed1f64a1" providerId="ADAL" clId="{F9DC8332-650A-4F6E-AD93-DF41712C7C1D}" dt="2024-07-22T17:31:28.310" v="22"/>
            <ac:spMkLst>
              <pc:docMk/>
              <pc:sldMasterMk cId="1069243298" sldId="2147484504"/>
              <pc:sldLayoutMk cId="471799383" sldId="2147484656"/>
              <ac:spMk id="5" creationId="{55DDF095-21E0-2A1E-2EDB-83811B97E7B9}"/>
            </ac:spMkLst>
          </pc:spChg>
          <pc:spChg chg="mod">
            <ac:chgData name="Szabo, Corinne" userId="5f91d2e2-9041-4610-ba2d-7466ed1f64a1" providerId="ADAL" clId="{F9DC8332-650A-4F6E-AD93-DF41712C7C1D}" dt="2024-07-22T17:31:28.310" v="22"/>
            <ac:spMkLst>
              <pc:docMk/>
              <pc:sldMasterMk cId="1069243298" sldId="2147484504"/>
              <pc:sldLayoutMk cId="471799383" sldId="2147484656"/>
              <ac:spMk id="6" creationId="{13553BD8-515E-4696-2CDD-E9823B8834F8}"/>
            </ac:spMkLst>
          </pc:spChg>
          <pc:spChg chg="mod">
            <ac:chgData name="Szabo, Corinne" userId="5f91d2e2-9041-4610-ba2d-7466ed1f64a1" providerId="ADAL" clId="{F9DC8332-650A-4F6E-AD93-DF41712C7C1D}" dt="2024-07-22T17:31:28.310" v="22"/>
            <ac:spMkLst>
              <pc:docMk/>
              <pc:sldMasterMk cId="1069243298" sldId="2147484504"/>
              <pc:sldLayoutMk cId="471799383" sldId="2147484656"/>
              <ac:spMk id="7" creationId="{1970410D-F0DA-562E-0D1A-7A966B28A723}"/>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2287247847" sldId="2147484657"/>
          </pc:sldLayoutMkLst>
          <pc:spChg chg="mod">
            <ac:chgData name="Szabo, Corinne" userId="5f91d2e2-9041-4610-ba2d-7466ed1f64a1" providerId="ADAL" clId="{F9DC8332-650A-4F6E-AD93-DF41712C7C1D}" dt="2024-07-22T17:31:28.310" v="22"/>
            <ac:spMkLst>
              <pc:docMk/>
              <pc:sldMasterMk cId="1069243298" sldId="2147484504"/>
              <pc:sldLayoutMk cId="2287247847" sldId="2147484657"/>
              <ac:spMk id="2" creationId="{BD990D7A-2122-7043-E493-980ECF45FC88}"/>
            </ac:spMkLst>
          </pc:spChg>
          <pc:spChg chg="mod">
            <ac:chgData name="Szabo, Corinne" userId="5f91d2e2-9041-4610-ba2d-7466ed1f64a1" providerId="ADAL" clId="{F9DC8332-650A-4F6E-AD93-DF41712C7C1D}" dt="2024-07-22T17:31:28.310" v="22"/>
            <ac:spMkLst>
              <pc:docMk/>
              <pc:sldMasterMk cId="1069243298" sldId="2147484504"/>
              <pc:sldLayoutMk cId="2287247847" sldId="2147484657"/>
              <ac:spMk id="3" creationId="{EC384811-DE95-D3A9-36AD-BF30C54F0D0F}"/>
            </ac:spMkLst>
          </pc:spChg>
          <pc:spChg chg="mod">
            <ac:chgData name="Szabo, Corinne" userId="5f91d2e2-9041-4610-ba2d-7466ed1f64a1" providerId="ADAL" clId="{F9DC8332-650A-4F6E-AD93-DF41712C7C1D}" dt="2024-07-22T17:31:28.310" v="22"/>
            <ac:spMkLst>
              <pc:docMk/>
              <pc:sldMasterMk cId="1069243298" sldId="2147484504"/>
              <pc:sldLayoutMk cId="2287247847" sldId="2147484657"/>
              <ac:spMk id="4" creationId="{C6AD8838-4853-5653-16C0-CC5EC934C8CE}"/>
            </ac:spMkLst>
          </pc:spChg>
          <pc:spChg chg="mod">
            <ac:chgData name="Szabo, Corinne" userId="5f91d2e2-9041-4610-ba2d-7466ed1f64a1" providerId="ADAL" clId="{F9DC8332-650A-4F6E-AD93-DF41712C7C1D}" dt="2024-07-22T17:31:28.310" v="22"/>
            <ac:spMkLst>
              <pc:docMk/>
              <pc:sldMasterMk cId="1069243298" sldId="2147484504"/>
              <pc:sldLayoutMk cId="2287247847" sldId="2147484657"/>
              <ac:spMk id="5" creationId="{626BDC09-FEC4-866D-8B6E-4DE877E12AEF}"/>
            </ac:spMkLst>
          </pc:spChg>
          <pc:spChg chg="mod">
            <ac:chgData name="Szabo, Corinne" userId="5f91d2e2-9041-4610-ba2d-7466ed1f64a1" providerId="ADAL" clId="{F9DC8332-650A-4F6E-AD93-DF41712C7C1D}" dt="2024-07-22T17:31:28.310" v="22"/>
            <ac:spMkLst>
              <pc:docMk/>
              <pc:sldMasterMk cId="1069243298" sldId="2147484504"/>
              <pc:sldLayoutMk cId="2287247847" sldId="2147484657"/>
              <ac:spMk id="6" creationId="{00AB2752-2A28-F485-DEF6-D4057DF58F8D}"/>
            </ac:spMkLst>
          </pc:spChg>
          <pc:spChg chg="mod">
            <ac:chgData name="Szabo, Corinne" userId="5f91d2e2-9041-4610-ba2d-7466ed1f64a1" providerId="ADAL" clId="{F9DC8332-650A-4F6E-AD93-DF41712C7C1D}" dt="2024-07-22T17:31:28.310" v="22"/>
            <ac:spMkLst>
              <pc:docMk/>
              <pc:sldMasterMk cId="1069243298" sldId="2147484504"/>
              <pc:sldLayoutMk cId="2287247847" sldId="2147484657"/>
              <ac:spMk id="7" creationId="{69D438B8-FD93-9CFC-E0EB-55D7734776FA}"/>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841559731" sldId="2147484658"/>
          </pc:sldLayoutMkLst>
          <pc:spChg chg="mod">
            <ac:chgData name="Szabo, Corinne" userId="5f91d2e2-9041-4610-ba2d-7466ed1f64a1" providerId="ADAL" clId="{F9DC8332-650A-4F6E-AD93-DF41712C7C1D}" dt="2024-07-22T17:31:28.310" v="22"/>
            <ac:spMkLst>
              <pc:docMk/>
              <pc:sldMasterMk cId="1069243298" sldId="2147484504"/>
              <pc:sldLayoutMk cId="841559731" sldId="2147484658"/>
              <ac:spMk id="2" creationId="{CF16713D-8B9B-E4EC-6DE5-2EADC650D559}"/>
            </ac:spMkLst>
          </pc:spChg>
          <pc:spChg chg="mod">
            <ac:chgData name="Szabo, Corinne" userId="5f91d2e2-9041-4610-ba2d-7466ed1f64a1" providerId="ADAL" clId="{F9DC8332-650A-4F6E-AD93-DF41712C7C1D}" dt="2024-07-22T17:31:28.310" v="22"/>
            <ac:spMkLst>
              <pc:docMk/>
              <pc:sldMasterMk cId="1069243298" sldId="2147484504"/>
              <pc:sldLayoutMk cId="841559731" sldId="2147484658"/>
              <ac:spMk id="3" creationId="{9F47AE5D-B05D-1814-5F1E-C4A5C36C2ED4}"/>
            </ac:spMkLst>
          </pc:spChg>
          <pc:spChg chg="mod">
            <ac:chgData name="Szabo, Corinne" userId="5f91d2e2-9041-4610-ba2d-7466ed1f64a1" providerId="ADAL" clId="{F9DC8332-650A-4F6E-AD93-DF41712C7C1D}" dt="2024-07-22T17:31:28.310" v="22"/>
            <ac:spMkLst>
              <pc:docMk/>
              <pc:sldMasterMk cId="1069243298" sldId="2147484504"/>
              <pc:sldLayoutMk cId="841559731" sldId="2147484658"/>
              <ac:spMk id="4" creationId="{BD6B2DE7-F1DA-8EA9-8F6A-7E87FAACE9D6}"/>
            </ac:spMkLst>
          </pc:spChg>
          <pc:spChg chg="mod">
            <ac:chgData name="Szabo, Corinne" userId="5f91d2e2-9041-4610-ba2d-7466ed1f64a1" providerId="ADAL" clId="{F9DC8332-650A-4F6E-AD93-DF41712C7C1D}" dt="2024-07-22T17:31:28.310" v="22"/>
            <ac:spMkLst>
              <pc:docMk/>
              <pc:sldMasterMk cId="1069243298" sldId="2147484504"/>
              <pc:sldLayoutMk cId="841559731" sldId="2147484658"/>
              <ac:spMk id="5" creationId="{D227804E-E2F7-41C9-F78D-61C59117A2E7}"/>
            </ac:spMkLst>
          </pc:spChg>
          <pc:spChg chg="mod">
            <ac:chgData name="Szabo, Corinne" userId="5f91d2e2-9041-4610-ba2d-7466ed1f64a1" providerId="ADAL" clId="{F9DC8332-650A-4F6E-AD93-DF41712C7C1D}" dt="2024-07-22T17:31:28.310" v="22"/>
            <ac:spMkLst>
              <pc:docMk/>
              <pc:sldMasterMk cId="1069243298" sldId="2147484504"/>
              <pc:sldLayoutMk cId="841559731" sldId="2147484658"/>
              <ac:spMk id="6" creationId="{000B0CC0-96D6-996D-A6CF-32AA33A57A6D}"/>
            </ac:spMkLst>
          </pc:spChg>
        </pc:sldLayoutChg>
        <pc:sldLayoutChg chg="modSp del mod ord">
          <pc:chgData name="Szabo, Corinne" userId="5f91d2e2-9041-4610-ba2d-7466ed1f64a1" providerId="ADAL" clId="{F9DC8332-650A-4F6E-AD93-DF41712C7C1D}" dt="2024-07-22T17:43:43.969" v="164" actId="47"/>
          <pc:sldLayoutMkLst>
            <pc:docMk/>
            <pc:sldMasterMk cId="1069243298" sldId="2147484504"/>
            <pc:sldLayoutMk cId="1606902637" sldId="2147484659"/>
          </pc:sldLayoutMkLst>
          <pc:spChg chg="mod">
            <ac:chgData name="Szabo, Corinne" userId="5f91d2e2-9041-4610-ba2d-7466ed1f64a1" providerId="ADAL" clId="{F9DC8332-650A-4F6E-AD93-DF41712C7C1D}" dt="2024-07-22T17:31:28.310" v="22"/>
            <ac:spMkLst>
              <pc:docMk/>
              <pc:sldMasterMk cId="1069243298" sldId="2147484504"/>
              <pc:sldLayoutMk cId="1606902637" sldId="2147484659"/>
              <ac:spMk id="2" creationId="{672A72B1-3DDC-AC81-31F0-5D59D314D2AF}"/>
            </ac:spMkLst>
          </pc:spChg>
          <pc:spChg chg="mod">
            <ac:chgData name="Szabo, Corinne" userId="5f91d2e2-9041-4610-ba2d-7466ed1f64a1" providerId="ADAL" clId="{F9DC8332-650A-4F6E-AD93-DF41712C7C1D}" dt="2024-07-22T17:31:28.310" v="22"/>
            <ac:spMkLst>
              <pc:docMk/>
              <pc:sldMasterMk cId="1069243298" sldId="2147484504"/>
              <pc:sldLayoutMk cId="1606902637" sldId="2147484659"/>
              <ac:spMk id="3" creationId="{A06C8BA2-9E35-3E57-1E2B-619604BAFC9C}"/>
            </ac:spMkLst>
          </pc:spChg>
          <pc:spChg chg="mod">
            <ac:chgData name="Szabo, Corinne" userId="5f91d2e2-9041-4610-ba2d-7466ed1f64a1" providerId="ADAL" clId="{F9DC8332-650A-4F6E-AD93-DF41712C7C1D}" dt="2024-07-22T17:31:28.310" v="22"/>
            <ac:spMkLst>
              <pc:docMk/>
              <pc:sldMasterMk cId="1069243298" sldId="2147484504"/>
              <pc:sldLayoutMk cId="1606902637" sldId="2147484659"/>
              <ac:spMk id="4" creationId="{BBE64E7A-1382-2CC4-ADFE-79FF3AACFD81}"/>
            </ac:spMkLst>
          </pc:spChg>
          <pc:spChg chg="mod">
            <ac:chgData name="Szabo, Corinne" userId="5f91d2e2-9041-4610-ba2d-7466ed1f64a1" providerId="ADAL" clId="{F9DC8332-650A-4F6E-AD93-DF41712C7C1D}" dt="2024-07-22T17:31:28.310" v="22"/>
            <ac:spMkLst>
              <pc:docMk/>
              <pc:sldMasterMk cId="1069243298" sldId="2147484504"/>
              <pc:sldLayoutMk cId="1606902637" sldId="2147484659"/>
              <ac:spMk id="5" creationId="{DC930FFF-75E7-BC40-9ADE-C5E067EB7C9D}"/>
            </ac:spMkLst>
          </pc:spChg>
          <pc:spChg chg="mod">
            <ac:chgData name="Szabo, Corinne" userId="5f91d2e2-9041-4610-ba2d-7466ed1f64a1" providerId="ADAL" clId="{F9DC8332-650A-4F6E-AD93-DF41712C7C1D}" dt="2024-07-22T17:31:28.310" v="22"/>
            <ac:spMkLst>
              <pc:docMk/>
              <pc:sldMasterMk cId="1069243298" sldId="2147484504"/>
              <pc:sldLayoutMk cId="1606902637" sldId="2147484659"/>
              <ac:spMk id="6" creationId="{F678FAE1-243A-9803-1DFC-7D72CF7B1BF8}"/>
            </ac:spMkLst>
          </pc:spChg>
        </pc:sldLayoutChg>
      </pc:sldMasterChg>
      <pc:sldMasterChg chg="del delSldLayout">
        <pc:chgData name="Szabo, Corinne" userId="5f91d2e2-9041-4610-ba2d-7466ed1f64a1" providerId="ADAL" clId="{F9DC8332-650A-4F6E-AD93-DF41712C7C1D}" dt="2024-07-22T17:31:28.159" v="18"/>
        <pc:sldMasterMkLst>
          <pc:docMk/>
          <pc:sldMasterMk cId="3190204040" sldId="2147484516"/>
        </pc:sldMasterMkLst>
        <pc:sldLayoutChg chg="del">
          <pc:chgData name="Szabo, Corinne" userId="5f91d2e2-9041-4610-ba2d-7466ed1f64a1" providerId="ADAL" clId="{F9DC8332-650A-4F6E-AD93-DF41712C7C1D}" dt="2024-07-22T17:31:28.159" v="18"/>
          <pc:sldLayoutMkLst>
            <pc:docMk/>
            <pc:sldMasterMk cId="3190204040" sldId="2147484516"/>
            <pc:sldLayoutMk cId="4163073728" sldId="2147484517"/>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660384857" sldId="2147484518"/>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4241873281" sldId="2147484519"/>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918038010" sldId="2147484520"/>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281486623" sldId="2147484521"/>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118596430" sldId="2147484522"/>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118758078" sldId="2147484523"/>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4130162626" sldId="2147484524"/>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793428796" sldId="2147484525"/>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682900389" sldId="2147484526"/>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327588414" sldId="2147484527"/>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373866852" sldId="2147484528"/>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166921364" sldId="2147484529"/>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894306759" sldId="2147484530"/>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4209475065" sldId="2147484531"/>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475121342" sldId="2147484532"/>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3921061509" sldId="2147484533"/>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3916865159" sldId="2147484534"/>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3814332263" sldId="2147484535"/>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575660615" sldId="2147484536"/>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3556431055" sldId="2147484537"/>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3638783766" sldId="2147484538"/>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3601653370" sldId="2147484539"/>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597252533" sldId="2147484540"/>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201909295" sldId="2147484541"/>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463879548" sldId="2147484542"/>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821925384" sldId="2147484543"/>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4030965776" sldId="2147484544"/>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241222372" sldId="2147484545"/>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92845912" sldId="2147484546"/>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747004071" sldId="2147484547"/>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977184549" sldId="2147484548"/>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503060468" sldId="2147484549"/>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4243624630" sldId="2147484550"/>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1263674153" sldId="2147484551"/>
          </pc:sldLayoutMkLst>
        </pc:sldLayoutChg>
        <pc:sldLayoutChg chg="del">
          <pc:chgData name="Szabo, Corinne" userId="5f91d2e2-9041-4610-ba2d-7466ed1f64a1" providerId="ADAL" clId="{F9DC8332-650A-4F6E-AD93-DF41712C7C1D}" dt="2024-07-22T17:31:28.159" v="18"/>
          <pc:sldLayoutMkLst>
            <pc:docMk/>
            <pc:sldMasterMk cId="3190204040" sldId="2147484516"/>
            <pc:sldLayoutMk cId="2312399124" sldId="2147484552"/>
          </pc:sldLayoutMkLst>
        </pc:sldLayoutChg>
      </pc:sldMasterChg>
      <pc:sldMasterChg chg="del sldLayoutOrd">
        <pc:chgData name="Szabo, Corinne" userId="5f91d2e2-9041-4610-ba2d-7466ed1f64a1" providerId="ADAL" clId="{F9DC8332-650A-4F6E-AD93-DF41712C7C1D}" dt="2024-07-22T17:31:28.398" v="25"/>
        <pc:sldMasterMkLst>
          <pc:docMk/>
          <pc:sldMasterMk cId="2813516051" sldId="2147484565"/>
        </pc:sldMasterMkLst>
      </pc:sldMasterChg>
      <pc:sldMasterChg chg="del delSldLayout">
        <pc:chgData name="Szabo, Corinne" userId="5f91d2e2-9041-4610-ba2d-7466ed1f64a1" providerId="ADAL" clId="{F9DC8332-650A-4F6E-AD93-DF41712C7C1D}" dt="2024-07-22T17:43:11.402" v="151" actId="47"/>
        <pc:sldMasterMkLst>
          <pc:docMk/>
          <pc:sldMasterMk cId="1387557076" sldId="2147484636"/>
        </pc:sldMasterMkLst>
        <pc:sldLayoutChg chg="del">
          <pc:chgData name="Szabo, Corinne" userId="5f91d2e2-9041-4610-ba2d-7466ed1f64a1" providerId="ADAL" clId="{F9DC8332-650A-4F6E-AD93-DF41712C7C1D}" dt="2024-07-22T17:43:11.402" v="151" actId="47"/>
          <pc:sldLayoutMkLst>
            <pc:docMk/>
            <pc:sldMasterMk cId="1387557076" sldId="2147484636"/>
            <pc:sldLayoutMk cId="998295747" sldId="2147484637"/>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312386093" sldId="2147484638"/>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2582007956" sldId="2147484639"/>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2718781976" sldId="2147484640"/>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996573701" sldId="2147484641"/>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3816155691" sldId="2147484642"/>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1919804164" sldId="2147484643"/>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200469468" sldId="2147484644"/>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318798602" sldId="2147484645"/>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1408921002" sldId="2147484646"/>
          </pc:sldLayoutMkLst>
        </pc:sldLayoutChg>
        <pc:sldLayoutChg chg="del">
          <pc:chgData name="Szabo, Corinne" userId="5f91d2e2-9041-4610-ba2d-7466ed1f64a1" providerId="ADAL" clId="{F9DC8332-650A-4F6E-AD93-DF41712C7C1D}" dt="2024-07-22T17:43:11.402" v="151" actId="47"/>
          <pc:sldLayoutMkLst>
            <pc:docMk/>
            <pc:sldMasterMk cId="1387557076" sldId="2147484636"/>
            <pc:sldLayoutMk cId="1130370951" sldId="2147484647"/>
          </pc:sldLayoutMkLst>
        </pc:sldLayoutChg>
      </pc:sldMasterChg>
      <pc:sldMasterChg chg="del sldLayoutOrd">
        <pc:chgData name="Szabo, Corinne" userId="5f91d2e2-9041-4610-ba2d-7466ed1f64a1" providerId="ADAL" clId="{F9DC8332-650A-4F6E-AD93-DF41712C7C1D}" dt="2024-07-22T17:31:28.399" v="26"/>
        <pc:sldMasterMkLst>
          <pc:docMk/>
          <pc:sldMasterMk cId="2683759347" sldId="2147484648"/>
        </pc:sldMasterMkLst>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1916F0-C4A3-433C-B6E8-801C7450AC52}" type="datetimeFigureOut">
              <a:rPr lang="en-US" smtClean="0"/>
              <a:t>7/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9B3082-39AC-4E05-8EB6-D119EF4B8E28}" type="slidenum">
              <a:rPr lang="en-US" smtClean="0"/>
              <a:t>‹#›</a:t>
            </a:fld>
            <a:endParaRPr lang="en-US"/>
          </a:p>
        </p:txBody>
      </p:sp>
    </p:spTree>
    <p:extLst>
      <p:ext uri="{BB962C8B-B14F-4D97-AF65-F5344CB8AC3E}">
        <p14:creationId xmlns:p14="http://schemas.microsoft.com/office/powerpoint/2010/main" val="6743870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mailto:corinne.szabo@sodexo.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teams.microsoft.com/l/meetup-join/19%3ameeting_NWJhOTkyYzctZDA5My00YzJiLTkyNWUtYWIxZGMyNmQ4ZTg4%40thread.v2/0?context=%7b%22Tid%22%3a%22a289d6c2-3b1f-4bc4-8fa0-6866ff300052%22%2c%22Oid%22%3a%22c291beb1-ed32-465e-b61f-dce7b73ecb60%22%7d"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us.sodexonet.com/home/news/internal-news/newsListArea/internal-news/information-security-access-requ.html?dm_i=3W0H,1N6US,8BMZH3,6AGVD,1"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sodexo-ism.ivanticloud.com/"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us.sodexonet.com/home/our-company/our-departments/finance/stars-of-finance-nomination-deta.html"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6596">
              <a:defRPr/>
            </a:pPr>
            <a:r>
              <a:rPr lang="en-US" b="1" dirty="0"/>
              <a:t>Welcome – this call will be recorded.    Start recording!</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Welcome to the FY24 Unit Controller Network call series! The purpose of the monthly Controller Network Call is to inform the network group about topics that impact the controller role on a timely schedule. </a:t>
            </a:r>
          </a:p>
          <a:p>
            <a:pPr marL="0" marR="0">
              <a:spcBef>
                <a:spcPts val="0"/>
              </a:spcBef>
              <a:spcAft>
                <a:spcPts val="0"/>
              </a:spcAft>
            </a:pP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The topics in this call series address programs/system updates to support change management, drive adoption and finance reporting best practices.  </a:t>
            </a: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Feedback and topic suggestions are always welcome.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Previous call content resources can be found on the UFS launch site, “Controller Corner,” main page, lower right.  Content is posted at the conclusion of each call and distributed in chat during the call.  Content is available for previous 6 month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I am CS, </a:t>
            </a:r>
            <a:r>
              <a:rPr lang="en-US" sz="1800" b="1" baseline="0" dirty="0"/>
              <a:t>w/ Finance Shared Services (FSS)</a:t>
            </a:r>
            <a:r>
              <a:rPr lang="en-US" sz="1800" b="1" dirty="0"/>
              <a:t>, coordinator of the CN call series, and your host for today.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his is the first/second of two calls for the month of July.  If you wish to include other team members for this month’s agenda, please forward the meeting invitation for Thursday am.  If you would like to invite other members on your team to join the Controller Network Call Series.  please send an email to </a:t>
            </a:r>
            <a:r>
              <a:rPr lang="en-US" sz="1800" u="sng" dirty="0">
                <a:solidFill>
                  <a:srgbClr val="0563C1"/>
                </a:solidFill>
                <a:effectLst/>
                <a:latin typeface="Calibri" panose="020F0502020204030204" pitchFamily="34" charset="0"/>
                <a:ea typeface="Calibri" panose="020F0502020204030204" pitchFamily="34" charset="0"/>
                <a:hlinkClick r:id="rId3"/>
              </a:rPr>
              <a:t>corinne.szabo@sodexo.com</a:t>
            </a:r>
            <a:r>
              <a:rPr lang="en-US" sz="1800" dirty="0">
                <a:effectLst/>
                <a:latin typeface="Calibri" panose="020F0502020204030204" pitchFamily="34" charset="0"/>
                <a:ea typeface="Calibri" panose="020F0502020204030204" pitchFamily="34" charset="0"/>
              </a:rPr>
              <a:t>.  I will add them to the Controller Network Call meeting invite distribution list.</a:t>
            </a:r>
          </a:p>
          <a:p>
            <a:pPr defTabSz="946596">
              <a:defRPr/>
            </a:pPr>
            <a:endParaRPr lang="en-US" b="1" dirty="0"/>
          </a:p>
          <a:p>
            <a:pPr marL="0" marR="0" lvl="0" indent="0" algn="l" defTabSz="946596"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Thank you for joining today.  To anyone new to the network – Welcome to the call series.</a:t>
            </a:r>
          </a:p>
          <a:p>
            <a:pPr defTabSz="946596">
              <a:defRPr/>
            </a:pPr>
            <a:endParaRPr lang="en-US" b="1" dirty="0"/>
          </a:p>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646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gregation of inventory management duties will ensure accountability, better control of inventory and reduce risks of fraud and theft. Here in the chart, you can see the different activities that should be completed by different people. For the physical inventory count there should be a counter and a writer, the counter counts and the writer records the count on the count sheet. Both the counter and writer need to sign and date the count sheets when finished counting. Someone different from the counter and writer should then input the counts from the count sheets into the extension file.  That same person or a different person would then input the extension totals into the UFS Inventory Summary Report.  Unit management should review the UFS Summary report and be sure it ties to the extension file. The manager must sign and date the UFS Inventory Summary Report evidencing their review. Unit managers and District Managers should use E=Vision to review inventory metrics and trends for reasonableness and fraud prevention. We will show the E=Vision page that includes the trends and metrics on a later slide.</a:t>
            </a:r>
          </a:p>
          <a:p>
            <a:r>
              <a:rPr lang="en-US" dirty="0"/>
              <a:t>Next slide pl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24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hows some prior issues and audit points. I will discuss just a few of them, you can review the others on our own. </a:t>
            </a:r>
            <a:br>
              <a:rPr lang="en-US" dirty="0"/>
            </a:br>
            <a:r>
              <a:rPr lang="en-US" dirty="0"/>
              <a:t>We’ve already discussed the importance of training, be sure to take the training if you haven’t already done so and be sure everyone involved with the process is also trained.</a:t>
            </a:r>
          </a:p>
          <a:p>
            <a:r>
              <a:rPr lang="en-US" dirty="0"/>
              <a:t># 2. Unit inventory sheets do not match UFS input values. This could be the count sheets don’t tie to the extension report and / or the extension report doesn’t tie to the UFS Summary report. GMs should compare count sheets to extension reports and then to the UFS Summary prior to transmission.</a:t>
            </a:r>
          </a:p>
          <a:p>
            <a:r>
              <a:rPr lang="en-US" dirty="0"/>
              <a:t>#3. Lack of trend analysis by General Manager and District Managers. Be sure to utilize the Inventory page in E=Vision to review the metrics and trends. Investigate variances or abnormalities and escalate as needed. </a:t>
            </a:r>
          </a:p>
          <a:p>
            <a:r>
              <a:rPr lang="en-US" dirty="0"/>
              <a:t>#4. Inventory Cost extension are not consistent with TMC pricing and non-TMC item costing must match the last purchase price or invoice. GMs should review pricing for all items unless they are TMC or Primero Edge products to ensure the price matches the most current invoice price. Please note, if you have items that were manually added to TMC/Primero Edge be sure to check the prices each month to ensure they match the current invoice price.</a:t>
            </a:r>
          </a:p>
          <a:p>
            <a:r>
              <a:rPr lang="en-US" dirty="0"/>
              <a:t>Next slide pl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222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help you manage the inventory process we’ve included some best practices. Similar to the last slide we will just discuss a few poi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sz="1200" b="0" dirty="0"/>
              <a:t>- Obsolete, expired, spoiled and damaged inventory should be clearly identified and separated from inventory and not counted. Follow First In First Out. The inventory that came in first should be used firs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sz="1200" b="0" dirty="0"/>
              <a:t>- Ensure that items not to be counted are clearly identified and segregated. This could be a client asking you to keep something in the cooler for the day such as a birthday cake, be sure to label it as DO NOT INVENTORY and move it away from the rest of the invent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sz="1200" b="0" dirty="0"/>
              <a:t>- As mentioned on previous slides, regarding management oversight, we will discuss in the next few E=Vision slides.</a:t>
            </a:r>
          </a:p>
          <a:p>
            <a:r>
              <a:rPr lang="en-US" dirty="0"/>
              <a:t>Please review the rest on your own.</a:t>
            </a:r>
          </a:p>
          <a:p>
            <a:r>
              <a:rPr lang="en-US" dirty="0"/>
              <a:t>Next slide pleas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335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screenshot of the E=Vision home page. On the left menu in the Metrics section there is a link to the Inventory page. If you click on that you will see the Inventory metrics and trends.  Please note there are E=Vision training modules on the right-hand side as well. </a:t>
            </a:r>
          </a:p>
          <a:p>
            <a:r>
              <a:rPr lang="en-US" dirty="0"/>
              <a:t>Next slide pl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8577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Inventory page, your</a:t>
            </a:r>
            <a:r>
              <a:rPr lang="en-US" sz="1800" dirty="0">
                <a:effectLst/>
                <a:latin typeface="Aptos" panose="020B0004020202020204" pitchFamily="34" charset="0"/>
                <a:ea typeface="Times New Roman" panose="02020603050405020304" pitchFamily="18" charset="0"/>
                <a:cs typeface="Aptos" panose="020B0004020202020204" pitchFamily="34" charset="0"/>
              </a:rPr>
              <a:t> view will be based on your access, and so you may be able to view 50 level down to unit level.</a:t>
            </a:r>
          </a:p>
          <a:p>
            <a:endParaRPr lang="en-US" sz="1800" dirty="0">
              <a:effectLst/>
              <a:latin typeface="Aptos" panose="020B0004020202020204" pitchFamily="34" charset="0"/>
            </a:endParaRPr>
          </a:p>
          <a:p>
            <a:r>
              <a:rPr lang="en-US" dirty="0"/>
              <a:t>Right in the middle chart, Total Inventory Analysis is where you can compare the inventory balance to Revenues, Spend, UOP and Days on Hand. One quick check is if the inventory balance grows while Revenue decreases, then you will need to investigate to determine the reason.</a:t>
            </a:r>
          </a:p>
          <a:p>
            <a:endParaRPr lang="en-US" dirty="0"/>
          </a:p>
          <a:p>
            <a:r>
              <a:rPr lang="en-US" dirty="0"/>
              <a:t>The table on the lower left side shows inventory changes. Current period versus prior period and the last year prior period. Here look for no change in period over period or negative inventory, if those occur you will need to research further. </a:t>
            </a:r>
          </a:p>
          <a:p>
            <a:endParaRPr lang="en-US" dirty="0"/>
          </a:p>
          <a:p>
            <a:r>
              <a:rPr lang="en-US" dirty="0"/>
              <a:t>The chart and table on the lower right side shows inventory Days on Hand. Here you can compare the inventory turnover versus your segment targets. Excessive Days on Hand may lead to theft, spoilage, etc.</a:t>
            </a:r>
          </a:p>
          <a:p>
            <a:endParaRPr lang="en-US" dirty="0"/>
          </a:p>
          <a:p>
            <a:r>
              <a:rPr lang="en-US" dirty="0"/>
              <a:t>Maintain any documentation you have to evidence your review and/or research in case of audit.</a:t>
            </a:r>
          </a:p>
          <a:p>
            <a:endParaRPr lang="en-US" dirty="0"/>
          </a:p>
          <a:p>
            <a:r>
              <a:rPr lang="en-US" dirty="0"/>
              <a:t>Next slide pl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304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Inventory Management page on SodexoNet that has a lot of good resources. You will see you can link to the AF Topic, to the TOPS and Ingenium trainings, also to the 10 Golden Rules on Managing Inventory and some job aids around inventory items. </a:t>
            </a:r>
          </a:p>
          <a:p>
            <a:r>
              <a:rPr lang="en-US" dirty="0"/>
              <a:t>That concludes the Inventory Management section. </a:t>
            </a:r>
          </a:p>
          <a:p>
            <a:br>
              <a:rPr lang="en-US" dirty="0"/>
            </a:br>
            <a:r>
              <a:rPr lang="en-US" dirty="0"/>
              <a:t>Next slide pl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93544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E2D-970F-D608-3F59-7559EA419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8E3B8-4E44-A608-097D-41C713EF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A1A4B8-028F-31E0-7639-21C04D70300D}"/>
              </a:ext>
            </a:extLst>
          </p:cNvPr>
          <p:cNvSpPr>
            <a:spLocks noGrp="1"/>
          </p:cNvSpPr>
          <p:nvPr>
            <p:ph type="body" idx="1"/>
          </p:nvPr>
        </p:nvSpPr>
        <p:spPr/>
        <p:txBody>
          <a:bodyPr/>
          <a:lstStyle/>
          <a:p>
            <a:r>
              <a:rPr lang="en-US" dirty="0"/>
              <a:t>Next we will discuss the Ernst and Young year-end inventory and cash audit.</a:t>
            </a:r>
          </a:p>
          <a:p>
            <a:endParaRPr lang="en-US" dirty="0"/>
          </a:p>
          <a:p>
            <a:r>
              <a:rPr lang="en-US" dirty="0"/>
              <a:t>Next slide please.</a:t>
            </a:r>
          </a:p>
        </p:txBody>
      </p:sp>
      <p:sp>
        <p:nvSpPr>
          <p:cNvPr id="4" name="Slide Number Placeholder 3">
            <a:extLst>
              <a:ext uri="{FF2B5EF4-FFF2-40B4-BE49-F238E27FC236}">
                <a16:creationId xmlns:a16="http://schemas.microsoft.com/office/drawing/2014/main" id="{679105D2-A92C-78EC-AC1D-0BF21906D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39811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 every year our external auditor, Ernst and Young conducts audits around inventory and cash. There will be on-site audits, where an auditor will be at the unit to observe the inventory count and count the cash on-site and desk audits where the auditor will review all the inventory documentation. </a:t>
            </a:r>
          </a:p>
          <a:p>
            <a:r>
              <a:rPr lang="en-US" dirty="0"/>
              <a:t>They chose 20 units so far this year (the list could change at any time). All units that have been selected have already been notified.  For the on-site audits, the auditor will be on-site on August 30</a:t>
            </a:r>
            <a:r>
              <a:rPr lang="en-US" baseline="30000" dirty="0"/>
              <a:t>th</a:t>
            </a:r>
            <a:r>
              <a:rPr lang="en-US" dirty="0"/>
              <a:t> or August 31 depending on the unit's business schedule. If open on Saturday August 31</a:t>
            </a:r>
            <a:r>
              <a:rPr lang="en-US" baseline="30000" dirty="0"/>
              <a:t>st</a:t>
            </a:r>
            <a:r>
              <a:rPr lang="en-US" dirty="0"/>
              <a:t>, the unit must take inventory that day per policy. </a:t>
            </a:r>
          </a:p>
          <a:p>
            <a:r>
              <a:rPr lang="en-US" dirty="0"/>
              <a:t>Our Internal Control department will operate the Year-End Command Center similar to prior years. The number is shown here and will be available starting Tuesday, August 27</a:t>
            </a:r>
            <a:r>
              <a:rPr lang="en-US" baseline="30000" dirty="0"/>
              <a:t>th</a:t>
            </a:r>
            <a:r>
              <a:rPr lang="en-US" dirty="0"/>
              <a:t> and run through Friday, September 6</a:t>
            </a:r>
            <a:r>
              <a:rPr lang="en-US" baseline="30000" dirty="0"/>
              <a:t>th. </a:t>
            </a:r>
            <a:r>
              <a:rPr lang="en-US" sz="1200" baseline="0" dirty="0"/>
              <a:t>Anyone can call in for support with their inventory process or for support with the year-end audit. </a:t>
            </a:r>
          </a:p>
          <a:p>
            <a:endParaRPr lang="en-US" sz="1200" baseline="0" dirty="0"/>
          </a:p>
          <a:p>
            <a:r>
              <a:rPr lang="en-US" sz="1200" baseline="0" dirty="0"/>
              <a:t>Next slide please.</a:t>
            </a:r>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9987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CCF2003-B449-48B6-B323-0B07F067D845}" type="slidenum">
              <a:rPr kumimoji="0" lang="en-GB" alt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2</a:t>
            </a:fld>
            <a:endParaRPr kumimoji="0" lang="en-GB" alt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618" name="Rectangle 2"/>
          <p:cNvSpPr>
            <a:spLocks noGrp="1" noRot="1" noChangeAspect="1" noChangeArrowheads="1" noTextEdit="1"/>
          </p:cNvSpPr>
          <p:nvPr>
            <p:ph type="sldImg"/>
          </p:nvPr>
        </p:nvSpPr>
        <p:spPr>
          <a:xfrm>
            <a:off x="93663" y="746125"/>
            <a:ext cx="6610350" cy="3719513"/>
          </a:xfrm>
          <a:ln cap="flat"/>
        </p:spPr>
      </p:sp>
      <p:sp>
        <p:nvSpPr>
          <p:cNvPr id="111619" name="Rectangle 3"/>
          <p:cNvSpPr>
            <a:spLocks noGrp="1" noChangeArrowheads="1"/>
          </p:cNvSpPr>
          <p:nvPr>
            <p:ph type="body" idx="1"/>
          </p:nvPr>
        </p:nvSpPr>
        <p:spPr>
          <a:ln/>
        </p:spPr>
        <p:txBody>
          <a:bodyPr/>
          <a:lstStyle/>
          <a:p>
            <a:pPr marL="0" indent="0">
              <a:buFont typeface="+mj-lt"/>
              <a:buNone/>
            </a:pPr>
            <a:r>
              <a:rPr lang="en-US" altLang="fr-FR" b="0" dirty="0"/>
              <a:t>If your unit is chosen for the on-site audit here is what you can expect. We will be holding one on one meetings with each unit selected for the year-end audit and will be going over this slide, so we will not discuss it today, but feel free to review on your own.   </a:t>
            </a:r>
          </a:p>
          <a:p>
            <a:pPr marL="0" indent="0">
              <a:buFont typeface="+mj-lt"/>
              <a:buNone/>
            </a:pPr>
            <a:endParaRPr lang="en-US" altLang="fr-FR" b="0" dirty="0"/>
          </a:p>
          <a:p>
            <a:pPr marL="0" indent="0">
              <a:buFont typeface="+mj-lt"/>
              <a:buNone/>
            </a:pPr>
            <a:r>
              <a:rPr lang="en-US" altLang="fr-FR" b="0" dirty="0"/>
              <a:t>Next slide please. </a:t>
            </a:r>
          </a:p>
          <a:p>
            <a:pPr marL="0" indent="0">
              <a:buFont typeface="+mj-lt"/>
              <a:buNone/>
            </a:pPr>
            <a:endParaRPr lang="en-US" altLang="fr-FR" b="0" dirty="0"/>
          </a:p>
          <a:p>
            <a:pPr marL="0" indent="0">
              <a:buFont typeface="+mj-lt"/>
              <a:buNone/>
            </a:pPr>
            <a:r>
              <a:rPr lang="en-US" altLang="fr-FR" b="0" dirty="0"/>
              <a:t>For reference: </a:t>
            </a:r>
          </a:p>
          <a:p>
            <a:pPr marL="64008" indent="-228600">
              <a:buFont typeface="+mj-lt"/>
              <a:buAutoNum type="arabicPeriod"/>
            </a:pPr>
            <a:r>
              <a:rPr lang="fr-FR" altLang="fr-FR" b="1" dirty="0"/>
              <a:t>Tour of Facilities - </a:t>
            </a:r>
            <a:r>
              <a:rPr lang="en-US" altLang="fr-FR" sz="1400" kern="0" dirty="0">
                <a:solidFill>
                  <a:srgbClr val="002060"/>
                </a:solidFill>
                <a:latin typeface="Arial"/>
              </a:rPr>
              <a:t>The audit will start with a tour of the unit. </a:t>
            </a:r>
          </a:p>
          <a:p>
            <a:pPr marL="804672" lvl="1" indent="-283464">
              <a:buFont typeface="Arial" panose="020B0604020202020204" pitchFamily="34" charset="0"/>
              <a:buChar char="•"/>
            </a:pPr>
            <a:r>
              <a:rPr lang="en-US" altLang="fr-FR" sz="1400" kern="0" dirty="0">
                <a:solidFill>
                  <a:srgbClr val="002060"/>
                </a:solidFill>
                <a:latin typeface="Arial"/>
              </a:rPr>
              <a:t>Auditor will note any damaged or spoiled inventory, organization of inventory, receiving activity, and overall organization of the inventory count.</a:t>
            </a:r>
          </a:p>
          <a:p>
            <a:pPr marL="800100" lvl="1" indent="-342900">
              <a:buFont typeface="Arial" panose="020B0604020202020204" pitchFamily="34" charset="0"/>
              <a:buChar char="•"/>
            </a:pPr>
            <a:endParaRPr lang="en-US" altLang="fr-FR" sz="1400" b="1" kern="0" dirty="0">
              <a:solidFill>
                <a:srgbClr val="002060"/>
              </a:solidFill>
              <a:latin typeface="Arial"/>
            </a:endParaRPr>
          </a:p>
          <a:p>
            <a:pPr marL="64008" lvl="0" indent="-342900">
              <a:buFont typeface="+mj-lt"/>
              <a:buAutoNum type="arabicPeriod"/>
            </a:pPr>
            <a:r>
              <a:rPr lang="fr-FR" altLang="fr-FR" b="1" dirty="0"/>
              <a:t>Physical Inventory Observation:</a:t>
            </a:r>
          </a:p>
          <a:p>
            <a:pPr marL="804672" lvl="1" indent="-285750">
              <a:buFont typeface="Arial" panose="020B0604020202020204" pitchFamily="34" charset="0"/>
              <a:buChar char="•"/>
            </a:pPr>
            <a:r>
              <a:rPr lang="en-US" altLang="fr-FR" sz="1400" kern="0" dirty="0">
                <a:solidFill>
                  <a:srgbClr val="002060"/>
                </a:solidFill>
                <a:latin typeface="Arial"/>
              </a:rPr>
              <a:t>Auditors will request an electronic blank copy of inventory count sheets in advance.</a:t>
            </a:r>
          </a:p>
          <a:p>
            <a:pPr marL="804672" lvl="1" indent="-285750">
              <a:buFont typeface="Arial" panose="020B0604020202020204" pitchFamily="34" charset="0"/>
              <a:buChar char="•"/>
            </a:pPr>
            <a:r>
              <a:rPr lang="en-US" altLang="fr-FR" sz="1400" dirty="0">
                <a:solidFill>
                  <a:srgbClr val="002060"/>
                </a:solidFill>
              </a:rPr>
              <a:t>Auditors will observe physical inventory count performed by counter and writer. </a:t>
            </a:r>
          </a:p>
          <a:p>
            <a:pPr marL="804672" lvl="1" indent="-285750">
              <a:buFont typeface="Arial" panose="020B0604020202020204" pitchFamily="34" charset="0"/>
              <a:buChar char="•"/>
            </a:pPr>
            <a:r>
              <a:rPr lang="en-US" altLang="fr-FR" sz="1400" dirty="0">
                <a:solidFill>
                  <a:srgbClr val="002060"/>
                </a:solidFill>
              </a:rPr>
              <a:t>Segregation of duties note: </a:t>
            </a:r>
          </a:p>
          <a:p>
            <a:pPr marL="1200150" lvl="2" indent="-285750">
              <a:buFont typeface="Arial" panose="020B0604020202020204" pitchFamily="34" charset="0"/>
              <a:buChar char="•"/>
            </a:pPr>
            <a:r>
              <a:rPr lang="en-US" altLang="fr-FR" sz="1400" dirty="0">
                <a:solidFill>
                  <a:srgbClr val="002060"/>
                </a:solidFill>
              </a:rPr>
              <a:t>Count team members should not be involved in data entry work for inventory extensions or Inventory Summary report. </a:t>
            </a:r>
          </a:p>
          <a:p>
            <a:pPr marL="1200150" lvl="2" indent="-285750">
              <a:buFont typeface="Arial" panose="020B0604020202020204" pitchFamily="34" charset="0"/>
              <a:buChar char="•"/>
            </a:pPr>
            <a:r>
              <a:rPr lang="en-US" altLang="fr-FR" sz="1400" dirty="0">
                <a:solidFill>
                  <a:srgbClr val="002060"/>
                </a:solidFill>
              </a:rPr>
              <a:t>If you don’t have enough employees to have segregation of duties in place, please contact your DM to get help (maybe from a nearby unit).</a:t>
            </a:r>
          </a:p>
          <a:p>
            <a:pPr marL="1200150" lvl="2" indent="-285750">
              <a:buFont typeface="Arial" panose="020B0604020202020204" pitchFamily="34" charset="0"/>
              <a:buChar char="•"/>
            </a:pPr>
            <a:endParaRPr lang="en-US" altLang="fr-FR" sz="1400" dirty="0">
              <a:solidFill>
                <a:srgbClr val="002060"/>
              </a:solidFill>
            </a:endParaRPr>
          </a:p>
          <a:p>
            <a:pPr marL="342900" lvl="0" indent="-342900">
              <a:buFont typeface="Arial" panose="020B0604020202020204" pitchFamily="34" charset="0"/>
              <a:buAutoNum type="arabicPeriod" startAt="3"/>
            </a:pPr>
            <a:r>
              <a:rPr lang="en-US" altLang="fr-FR" sz="1400" b="1" dirty="0">
                <a:solidFill>
                  <a:srgbClr val="002060"/>
                </a:solidFill>
              </a:rPr>
              <a:t>Cash</a:t>
            </a:r>
          </a:p>
          <a:p>
            <a:pPr marL="800100" lvl="1" indent="-342900">
              <a:buFont typeface="Arial" panose="020B0604020202020204" pitchFamily="34" charset="0"/>
              <a:buChar char="•"/>
            </a:pPr>
            <a:r>
              <a:rPr lang="en-US" altLang="fr-FR" sz="1400" dirty="0">
                <a:solidFill>
                  <a:srgbClr val="002060"/>
                </a:solidFill>
              </a:rPr>
              <a:t>Count the cash in the safe and compare to the Unit Fund balance (account 5300.0001) </a:t>
            </a:r>
          </a:p>
          <a:p>
            <a:pPr marL="1200150" lvl="2" indent="-285750">
              <a:buFont typeface="Arial" panose="020B0604020202020204" pitchFamily="34" charset="0"/>
              <a:buChar char="•"/>
            </a:pPr>
            <a:endParaRPr lang="en-US" altLang="fr-FR" sz="1400" b="1" dirty="0">
              <a:solidFill>
                <a:srgbClr val="002060"/>
              </a:solidFill>
            </a:endParaRPr>
          </a:p>
          <a:p>
            <a:pPr marL="342900" lvl="0" indent="-342900">
              <a:buFont typeface="+mj-lt"/>
              <a:buAutoNum type="arabicPeriod" startAt="3"/>
            </a:pPr>
            <a:r>
              <a:rPr lang="en-US" altLang="fr-FR" sz="1600" b="1" dirty="0">
                <a:solidFill>
                  <a:srgbClr val="002060"/>
                </a:solidFill>
              </a:rPr>
              <a:t>Verification and Reconciliation</a:t>
            </a:r>
          </a:p>
          <a:p>
            <a:pPr marL="63500" lvl="1">
              <a:spcAft>
                <a:spcPts val="600"/>
              </a:spcAft>
              <a:buClr>
                <a:srgbClr val="002060"/>
              </a:buClr>
            </a:pPr>
            <a:r>
              <a:rPr lang="en-US" altLang="fr-FR" sz="1600" dirty="0">
                <a:solidFill>
                  <a:srgbClr val="002060"/>
                </a:solidFill>
              </a:rPr>
              <a:t>       Auditor will complete the following:</a:t>
            </a:r>
          </a:p>
          <a:p>
            <a:pPr marL="804672" lvl="2" indent="-285750">
              <a:spcAft>
                <a:spcPts val="600"/>
              </a:spcAft>
              <a:buClr>
                <a:srgbClr val="002060"/>
              </a:buClr>
              <a:buFont typeface="Arial" panose="020B0604020202020204" pitchFamily="34" charset="0"/>
              <a:buChar char="•"/>
              <a:tabLst>
                <a:tab pos="1088136" algn="l"/>
              </a:tabLst>
            </a:pPr>
            <a:r>
              <a:rPr lang="en-US" altLang="fr-FR" sz="1600" dirty="0">
                <a:solidFill>
                  <a:srgbClr val="002060"/>
                </a:solidFill>
              </a:rPr>
              <a:t>Select and recount a sample of items to check counter/writer’s work. </a:t>
            </a:r>
          </a:p>
          <a:p>
            <a:pPr marL="806450" lvl="2" indent="-285750">
              <a:spcAft>
                <a:spcPts val="600"/>
              </a:spcAft>
              <a:buClr>
                <a:srgbClr val="002060"/>
              </a:buClr>
              <a:buFont typeface="Arial" panose="020B0604020202020204" pitchFamily="34" charset="0"/>
              <a:buChar char="•"/>
            </a:pPr>
            <a:r>
              <a:rPr lang="en-US" altLang="fr-FR" sz="1600" dirty="0">
                <a:solidFill>
                  <a:srgbClr val="002060"/>
                </a:solidFill>
              </a:rPr>
              <a:t>Reconcile inventory item prices used in the inventory extension calculation for reporting final inventory values to:</a:t>
            </a:r>
          </a:p>
          <a:p>
            <a:pPr marL="1263650" lvl="3" indent="-285750">
              <a:spcAft>
                <a:spcPts val="600"/>
              </a:spcAft>
              <a:buClr>
                <a:srgbClr val="002060"/>
              </a:buClr>
              <a:buFont typeface="Arial" panose="020B0604020202020204" pitchFamily="34" charset="0"/>
              <a:buChar char="•"/>
            </a:pPr>
            <a:r>
              <a:rPr lang="en-US" altLang="fr-FR" sz="1600" dirty="0">
                <a:solidFill>
                  <a:srgbClr val="002060"/>
                </a:solidFill>
              </a:rPr>
              <a:t>The Market Connection (TMC) pricing for in system vendors 	</a:t>
            </a:r>
          </a:p>
          <a:p>
            <a:pPr marL="1035050" lvl="4">
              <a:spcAft>
                <a:spcPts val="0"/>
              </a:spcAft>
              <a:buClr>
                <a:schemeClr val="accent1"/>
              </a:buClr>
              <a:tabLst>
                <a:tab pos="1092200" algn="l"/>
                <a:tab pos="2149475" algn="l"/>
                <a:tab pos="8077200" algn="r"/>
              </a:tabLst>
            </a:pPr>
            <a:r>
              <a:rPr lang="en-US" altLang="fr-FR" sz="1600" b="1" dirty="0">
                <a:solidFill>
                  <a:srgbClr val="002060"/>
                </a:solidFill>
              </a:rPr>
              <a:t>or</a:t>
            </a:r>
            <a:r>
              <a:rPr lang="en-US" altLang="fr-FR" sz="1600" dirty="0">
                <a:solidFill>
                  <a:srgbClr val="002060"/>
                </a:solidFill>
              </a:rPr>
              <a:t>	</a:t>
            </a:r>
          </a:p>
          <a:p>
            <a:pPr marL="1320800" lvl="4" indent="-285750">
              <a:spcAft>
                <a:spcPts val="0"/>
              </a:spcAft>
              <a:buClr>
                <a:schemeClr val="accent1"/>
              </a:buClr>
              <a:buFont typeface="Arial" panose="020B0604020202020204" pitchFamily="34" charset="0"/>
              <a:buChar char="•"/>
              <a:tabLst>
                <a:tab pos="1092200" algn="l"/>
                <a:tab pos="2149475" algn="l"/>
                <a:tab pos="8077200" algn="r"/>
              </a:tabLst>
            </a:pPr>
            <a:r>
              <a:rPr lang="en-US" altLang="fr-FR" sz="1600" dirty="0">
                <a:solidFill>
                  <a:srgbClr val="002060"/>
                </a:solidFill>
              </a:rPr>
              <a:t>The most current vendor invoices* for out of system vendors - Keep separate copies of those invoices on hand for the auditor to review. </a:t>
            </a:r>
          </a:p>
          <a:p>
            <a:pPr marL="804672" lvl="2" indent="-285750">
              <a:spcAft>
                <a:spcPts val="600"/>
              </a:spcAft>
              <a:buClr>
                <a:srgbClr val="002060"/>
              </a:buClr>
              <a:buSzPct val="120000"/>
              <a:buFont typeface="Arial" panose="020B0604020202020204" pitchFamily="34" charset="0"/>
              <a:buChar char="•"/>
              <a:tabLst>
                <a:tab pos="1092200" algn="l"/>
                <a:tab pos="2149475" algn="l"/>
                <a:tab pos="8077200" algn="r"/>
              </a:tabLst>
            </a:pPr>
            <a:r>
              <a:rPr lang="en-US" altLang="fr-FR" sz="1600" dirty="0">
                <a:solidFill>
                  <a:srgbClr val="002060"/>
                </a:solidFill>
              </a:rPr>
              <a:t>Reconcile completed manual count sheets to the inventory extension report from TMC/UFS/Excel (count sheets must be signed by counter and writer). </a:t>
            </a:r>
          </a:p>
          <a:p>
            <a:pPr marL="804672" lvl="2" indent="-285750">
              <a:spcAft>
                <a:spcPts val="600"/>
              </a:spcAft>
              <a:buClr>
                <a:srgbClr val="002060"/>
              </a:buClr>
              <a:buSzPct val="120000"/>
              <a:buFont typeface="Arial" panose="020B0604020202020204" pitchFamily="34" charset="0"/>
              <a:buChar char="•"/>
              <a:tabLst>
                <a:tab pos="1092200" algn="l"/>
                <a:tab pos="2149475" algn="l"/>
                <a:tab pos="8077200" algn="r"/>
              </a:tabLst>
            </a:pPr>
            <a:r>
              <a:rPr lang="en-US" altLang="fr-FR" sz="1600" dirty="0">
                <a:solidFill>
                  <a:srgbClr val="002060"/>
                </a:solidFill>
              </a:rPr>
              <a:t>Reconcile the inventory extension reports to the UFS Summary Report (must be reviewed/signed by management). </a:t>
            </a:r>
          </a:p>
          <a:p>
            <a:pPr marL="977900" lvl="2" indent="-400050">
              <a:spcAft>
                <a:spcPts val="600"/>
              </a:spcAft>
              <a:buClr>
                <a:schemeClr val="accent1"/>
              </a:buClr>
              <a:buFont typeface="Arial" panose="020B0604020202020204" pitchFamily="34" charset="0"/>
              <a:buChar char="•"/>
              <a:tabLst>
                <a:tab pos="1092200" algn="l"/>
                <a:tab pos="2149475" algn="l"/>
                <a:tab pos="8077200" algn="r"/>
              </a:tabLst>
            </a:pPr>
            <a:endParaRPr lang="en-US" altLang="fr-FR" sz="1600" b="1" dirty="0">
              <a:solidFill>
                <a:srgbClr val="002060"/>
              </a:solidFill>
            </a:endParaRPr>
          </a:p>
          <a:p>
            <a:endParaRPr lang="fr-FR" altLang="fr-FR" dirty="0"/>
          </a:p>
        </p:txBody>
      </p:sp>
    </p:spTree>
    <p:extLst>
      <p:ext uri="{BB962C8B-B14F-4D97-AF65-F5344CB8AC3E}">
        <p14:creationId xmlns:p14="http://schemas.microsoft.com/office/powerpoint/2010/main" val="3863781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CCF2003-B449-48B6-B323-0B07F067D845}" type="slidenum">
              <a:rPr kumimoji="0" lang="en-GB" alt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en-GB" alt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618" name="Rectangle 2"/>
          <p:cNvSpPr>
            <a:spLocks noGrp="1" noRot="1" noChangeAspect="1" noChangeArrowheads="1" noTextEdit="1"/>
          </p:cNvSpPr>
          <p:nvPr>
            <p:ph type="sldImg"/>
          </p:nvPr>
        </p:nvSpPr>
        <p:spPr>
          <a:xfrm>
            <a:off x="93663" y="746125"/>
            <a:ext cx="6610350" cy="3719513"/>
          </a:xfrm>
          <a:ln cap="flat"/>
        </p:spPr>
      </p:sp>
      <p:sp>
        <p:nvSpPr>
          <p:cNvPr id="111619" name="Rectangle 3"/>
          <p:cNvSpPr>
            <a:spLocks noGrp="1" noChangeArrowheads="1"/>
          </p:cNvSpPr>
          <p:nvPr>
            <p:ph type="body" idx="1"/>
          </p:nvPr>
        </p:nvSpPr>
        <p:spPr>
          <a:ln/>
        </p:spPr>
        <p:txBody>
          <a:bodyPr/>
          <a:lstStyle/>
          <a:p>
            <a:r>
              <a:rPr lang="en-US" altLang="fr-FR" noProof="0" dirty="0"/>
              <a:t>Accounts Payable owns the Inventory Control policy AF Topic 832-01 and so you can see their contact information here. And our Team from Internal Control contact information is here as well. </a:t>
            </a:r>
          </a:p>
          <a:p>
            <a:endParaRPr lang="en-US" altLang="fr-FR" noProof="0" dirty="0"/>
          </a:p>
          <a:p>
            <a:r>
              <a:rPr lang="en-US" altLang="fr-FR" noProof="0" dirty="0"/>
              <a:t>Next slide please.</a:t>
            </a:r>
          </a:p>
        </p:txBody>
      </p:sp>
    </p:spTree>
    <p:extLst>
      <p:ext uri="{BB962C8B-B14F-4D97-AF65-F5344CB8AC3E}">
        <p14:creationId xmlns:p14="http://schemas.microsoft.com/office/powerpoint/2010/main" val="1872104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Our July Agend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o demonstrate our commitment to safety and our safety culture at Sodexo, we begin each meeting with a Safety Moment – </a:t>
            </a:r>
            <a:r>
              <a:rPr lang="en-US" sz="1200" strike="noStrike" dirty="0"/>
              <a:t>I have an open invitation to anyone listening in to volunteer for a future call and present a safety moment.  If you’re looking for an opportunity to share a safety experience or learning, or just want to practice presenting, please reach out to me.   </a:t>
            </a:r>
          </a:p>
          <a:p>
            <a:pPr marL="0" marR="0" lvl="0" indent="0">
              <a:spcBef>
                <a:spcPts val="0"/>
              </a:spcBef>
              <a:spcAft>
                <a:spcPts val="0"/>
              </a:spcAft>
              <a:buSzPts val="1000"/>
              <a:buFont typeface="Symbol" panose="05050102010706020507" pitchFamily="18" charset="2"/>
              <a:buNone/>
              <a:tabLst>
                <a:tab pos="457200" algn="l"/>
              </a:tabLst>
            </a:pPr>
            <a:endParaRPr lang="en-US" sz="1800" b="1" dirty="0">
              <a:effectLst/>
              <a:latin typeface="Calibri" panose="020F0502020204030204" pitchFamily="34" charset="0"/>
              <a:ea typeface="Times New Roman" panose="02020603050405020304" pitchFamily="18" charset="0"/>
            </a:endParaRPr>
          </a:p>
          <a:p>
            <a:pPr marL="0" marR="0" lvl="0" indent="0">
              <a:spcBef>
                <a:spcPts val="0"/>
              </a:spcBef>
              <a:spcAft>
                <a:spcPts val="0"/>
              </a:spcAft>
              <a:buSzPts val="1000"/>
              <a:buFont typeface="Symbol" panose="05050102010706020507" pitchFamily="18" charset="2"/>
              <a:buNone/>
              <a:tabLst>
                <a:tab pos="457200" algn="l"/>
              </a:tabLst>
            </a:pPr>
            <a:r>
              <a:rPr lang="en-US" sz="1800" b="0" dirty="0">
                <a:effectLst/>
                <a:latin typeface="Calibri" panose="020F0502020204030204" pitchFamily="34" charset="0"/>
                <a:ea typeface="Times New Roman" panose="02020603050405020304" pitchFamily="18" charset="0"/>
              </a:rPr>
              <a:t>From our FSS Order to Cash team we have Brad Hamman from Credit &amp; Collections to review Q4 collections</a:t>
            </a:r>
          </a:p>
          <a:p>
            <a:pPr marL="0" marR="0" lvl="0" indent="0">
              <a:spcBef>
                <a:spcPts val="0"/>
              </a:spcBef>
              <a:spcAft>
                <a:spcPts val="0"/>
              </a:spcAft>
              <a:buSzPts val="1000"/>
              <a:buFont typeface="Symbol" panose="05050102010706020507" pitchFamily="18" charset="2"/>
              <a:buNone/>
              <a:tabLst>
                <a:tab pos="457200" algn="l"/>
              </a:tabLst>
            </a:pPr>
            <a:r>
              <a:rPr lang="en-US" sz="1800" i="1" dirty="0">
                <a:effectLst/>
                <a:latin typeface="Aptos" panose="020B0004020202020204" pitchFamily="34" charset="0"/>
                <a:ea typeface="Aptos" panose="020B0004020202020204" pitchFamily="34" charset="0"/>
                <a:cs typeface="Aptos" panose="020B0004020202020204" pitchFamily="34" charset="0"/>
              </a:rPr>
              <a:t>From FSS Integrated Internal Control we have Yvonne Daloise &amp; Chad Mayerhofer, led by Rubylyn Tantoy to cover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b="1" dirty="0">
                <a:effectLst/>
                <a:latin typeface="Aptos" panose="020B0004020202020204" pitchFamily="34" charset="0"/>
                <a:ea typeface="Times New Roman" panose="02020603050405020304" pitchFamily="18" charset="0"/>
                <a:cs typeface="Aptos" panose="020B0004020202020204" pitchFamily="34" charset="0"/>
              </a:rPr>
              <a:t>Internal Control Updates – </a:t>
            </a:r>
            <a:r>
              <a:rPr lang="en-US" sz="1800" b="0" i="1" dirty="0">
                <a:effectLst/>
                <a:latin typeface="Aptos" panose="020B0004020202020204" pitchFamily="34" charset="0"/>
                <a:ea typeface="Times New Roman" panose="02020603050405020304" pitchFamily="18" charset="0"/>
                <a:cs typeface="Aptos" panose="020B0004020202020204" pitchFamily="34" charset="0"/>
              </a:rPr>
              <a:t>which includes</a:t>
            </a:r>
            <a:endParaRPr lang="en-US" sz="1800" i="1" dirty="0">
              <a:effectLst/>
              <a:latin typeface="Aptos" panose="020B0004020202020204" pitchFamily="34" charset="0"/>
              <a:ea typeface="Times New Roman" panose="02020603050405020304" pitchFamily="18" charset="0"/>
              <a:cs typeface="Aptos" panose="020B0004020202020204" pitchFamily="34" charset="0"/>
            </a:endParaRPr>
          </a:p>
          <a:p>
            <a:pPr marL="800100" marR="0" lvl="1" indent="-342900">
              <a:spcBef>
                <a:spcPts val="0"/>
              </a:spcBef>
              <a:spcAft>
                <a:spcPts val="0"/>
              </a:spcAft>
              <a:buSzPts val="1000"/>
              <a:buFont typeface="Symbol" panose="05050102010706020507" pitchFamily="18" charset="2"/>
              <a:buChar char=""/>
              <a:tabLst>
                <a:tab pos="457200" algn="l"/>
              </a:tabLst>
            </a:pPr>
            <a:r>
              <a:rPr lang="en-US" sz="1800" i="0" dirty="0">
                <a:effectLst/>
                <a:latin typeface="Aptos" panose="020B0004020202020204" pitchFamily="34" charset="0"/>
                <a:ea typeface="Aptos" panose="020B0004020202020204" pitchFamily="34" charset="0"/>
                <a:cs typeface="Aptos" panose="020B0004020202020204" pitchFamily="34" charset="0"/>
              </a:rPr>
              <a:t>Inventory Mgt</a:t>
            </a:r>
          </a:p>
          <a:p>
            <a:pPr marL="800100" marR="0" lvl="1" indent="-342900">
              <a:spcBef>
                <a:spcPts val="0"/>
              </a:spcBef>
              <a:spcAft>
                <a:spcPts val="0"/>
              </a:spcAft>
              <a:buSzPts val="1000"/>
              <a:buFont typeface="Symbol" panose="05050102010706020507" pitchFamily="18" charset="2"/>
              <a:buChar char=""/>
              <a:tabLst>
                <a:tab pos="457200" algn="l"/>
              </a:tabLst>
            </a:pPr>
            <a:r>
              <a:rPr lang="en-US" sz="1800" i="0" dirty="0">
                <a:effectLst/>
                <a:latin typeface="Aptos" panose="020B0004020202020204" pitchFamily="34" charset="0"/>
                <a:ea typeface="Aptos" panose="020B0004020202020204" pitchFamily="34" charset="0"/>
                <a:cs typeface="Aptos" panose="020B0004020202020204" pitchFamily="34" charset="0"/>
              </a:rPr>
              <a:t>YE Inventory/Cash Audit</a:t>
            </a:r>
          </a:p>
          <a:p>
            <a:pPr marL="800100" marR="0" lvl="1" indent="-342900">
              <a:spcBef>
                <a:spcPts val="0"/>
              </a:spcBef>
              <a:spcAft>
                <a:spcPts val="0"/>
              </a:spcAft>
              <a:buSzPts val="1000"/>
              <a:buFont typeface="Symbol" panose="05050102010706020507" pitchFamily="18" charset="2"/>
              <a:buChar char=""/>
              <a:tabLst>
                <a:tab pos="457200" algn="l"/>
              </a:tabLst>
            </a:pPr>
            <a:r>
              <a:rPr lang="en-US" sz="1800" i="0" dirty="0">
                <a:effectLst/>
                <a:latin typeface="Aptos" panose="020B0004020202020204" pitchFamily="34" charset="0"/>
                <a:ea typeface="Aptos" panose="020B0004020202020204" pitchFamily="34" charset="0"/>
                <a:cs typeface="Aptos" panose="020B0004020202020204" pitchFamily="34" charset="0"/>
              </a:rPr>
              <a:t>NorAm Site Audit Program</a:t>
            </a:r>
          </a:p>
          <a:p>
            <a:pPr marL="0" marR="0" lvl="0" indent="0" algn="l" defTabSz="914400" rtl="0" eaLnBrk="1" fontAlgn="auto" latinLnBrk="0" hangingPunct="1">
              <a:lnSpc>
                <a:spcPct val="100000"/>
              </a:lnSpc>
              <a:spcBef>
                <a:spcPts val="0"/>
              </a:spcBef>
              <a:spcAft>
                <a:spcPts val="0"/>
              </a:spcAft>
              <a:buClrTx/>
              <a:buSzPts val="1000"/>
              <a:buFont typeface="Symbol" panose="05050102010706020507" pitchFamily="18" charset="2"/>
              <a:buNone/>
              <a:tabLst>
                <a:tab pos="457200" algn="l"/>
              </a:tabLst>
              <a:defRPr/>
            </a:pPr>
            <a:r>
              <a:rPr lang="en-US" sz="1800" b="1" dirty="0">
                <a:effectLst/>
                <a:latin typeface="Calibri" panose="020F0502020204030204" pitchFamily="34" charset="0"/>
                <a:ea typeface="Times New Roman" panose="02020603050405020304" pitchFamily="18" charset="0"/>
              </a:rPr>
              <a:t>To continue the introduction of the new Identity &amp; Access Management Form (SoUnified) – </a:t>
            </a:r>
          </a:p>
          <a:p>
            <a:pPr marL="0" marR="0" lvl="0" indent="0" algn="l" defTabSz="914400" rtl="0" eaLnBrk="1" fontAlgn="auto" latinLnBrk="0" hangingPunct="1">
              <a:lnSpc>
                <a:spcPct val="100000"/>
              </a:lnSpc>
              <a:spcBef>
                <a:spcPts val="0"/>
              </a:spcBef>
              <a:spcAft>
                <a:spcPts val="0"/>
              </a:spcAft>
              <a:buClrTx/>
              <a:buSzPts val="1000"/>
              <a:buFont typeface="Symbol" panose="05050102010706020507" pitchFamily="18" charset="2"/>
              <a:buNone/>
              <a:tabLst>
                <a:tab pos="457200" algn="l"/>
              </a:tabLst>
              <a:defRPr/>
            </a:pPr>
            <a:r>
              <a:rPr lang="en-US" sz="1800" b="1" dirty="0">
                <a:effectLst/>
                <a:latin typeface="Calibri" panose="020F0502020204030204" pitchFamily="34" charset="0"/>
                <a:ea typeface="Times New Roman" panose="02020603050405020304" pitchFamily="18" charset="0"/>
              </a:rPr>
              <a:t>This month we’ll provide an update on the UFS Access process.  Last month we had Susan Chapman join us to demonstrate E=vision access requests via the new form on </a:t>
            </a:r>
            <a:r>
              <a:rPr lang="en-US" sz="1800" b="1" dirty="0" err="1">
                <a:effectLst/>
                <a:latin typeface="Calibri" panose="020F0502020204030204" pitchFamily="34" charset="0"/>
                <a:ea typeface="Times New Roman" panose="02020603050405020304" pitchFamily="18" charset="0"/>
              </a:rPr>
              <a:t>SoUnified</a:t>
            </a:r>
            <a:r>
              <a:rPr lang="en-US" sz="1800" b="1">
                <a:effectLst/>
                <a:latin typeface="Calibri" panose="020F0502020204030204" pitchFamily="34" charset="0"/>
                <a:ea typeface="Times New Roman" panose="02020603050405020304" pitchFamily="18" charset="0"/>
              </a:rPr>
              <a:t>, (</a:t>
            </a:r>
            <a:r>
              <a:rPr lang="en-US" sz="1800" b="1" dirty="0">
                <a:effectLst/>
                <a:latin typeface="Calibri" panose="020F0502020204030204" pitchFamily="34" charset="0"/>
                <a:ea typeface="Times New Roman" panose="02020603050405020304" pitchFamily="18" charset="0"/>
              </a:rPr>
              <a:t>check the recording if you want to revisit that topic, or if you missed </a:t>
            </a:r>
            <a:r>
              <a:rPr lang="en-US" sz="1800" b="1">
                <a:effectLst/>
                <a:latin typeface="Calibri" panose="020F0502020204030204" pitchFamily="34" charset="0"/>
                <a:ea typeface="Times New Roman" panose="02020603050405020304" pitchFamily="18" charset="0"/>
              </a:rPr>
              <a:t>it) and this month Jill Helms, and </a:t>
            </a:r>
            <a:r>
              <a:rPr lang="en-US" sz="1800" b="1" dirty="0">
                <a:effectLst/>
                <a:latin typeface="Calibri" panose="020F0502020204030204" pitchFamily="34" charset="0"/>
                <a:ea typeface="Times New Roman" panose="02020603050405020304" pitchFamily="18" charset="0"/>
              </a:rPr>
              <a:t>I will cover from the FSS Unit financial system Initiatives team</a:t>
            </a:r>
          </a:p>
          <a:p>
            <a:pPr marL="342900" marR="0" lvl="0" indent="-342900" algn="l"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lang="en-US" sz="1800" b="1" dirty="0">
                <a:effectLst/>
                <a:latin typeface="Calibri" panose="020F0502020204030204" pitchFamily="34" charset="0"/>
                <a:ea typeface="Times New Roman" panose="02020603050405020304" pitchFamily="18" charset="0"/>
              </a:rPr>
              <a:t>Q&amp;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lease use the chat function within this Team meeting to submit any questions that you may have as we run through the agenda topics.   We will pause to address questions between topics and if we run out of time we will follow up via emai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nally – feel free to use the Reactions button as we proceed through today’s call.  With everyone muted, it is a nice way to contribute and engage and we appreciate the energy.</a:t>
            </a:r>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0156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E2D-970F-D608-3F59-7559EA419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8E3B8-4E44-A608-097D-41C713EF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A1A4B8-028F-31E0-7639-21C04D70300D}"/>
              </a:ext>
            </a:extLst>
          </p:cNvPr>
          <p:cNvSpPr>
            <a:spLocks noGrp="1"/>
          </p:cNvSpPr>
          <p:nvPr>
            <p:ph type="body" idx="1"/>
          </p:nvPr>
        </p:nvSpPr>
        <p:spPr/>
        <p:txBody>
          <a:bodyPr/>
          <a:lstStyle/>
          <a:p>
            <a:r>
              <a:rPr lang="en-US" dirty="0"/>
              <a:t>Our final topic is the NorAm Site Audit program.</a:t>
            </a:r>
          </a:p>
          <a:p>
            <a:endParaRPr lang="en-US" dirty="0"/>
          </a:p>
          <a:p>
            <a:r>
              <a:rPr lang="en-US" dirty="0"/>
              <a:t>Next slide please.</a:t>
            </a:r>
          </a:p>
        </p:txBody>
      </p:sp>
      <p:sp>
        <p:nvSpPr>
          <p:cNvPr id="4" name="Slide Number Placeholder 3">
            <a:extLst>
              <a:ext uri="{FF2B5EF4-FFF2-40B4-BE49-F238E27FC236}">
                <a16:creationId xmlns:a16="http://schemas.microsoft.com/office/drawing/2014/main" id="{679105D2-A92C-78EC-AC1D-0BF21906D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25715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reviving the NorAm Site Audit program. As you can see our objectives with the site audits 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a:t>
            </a: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Evaluate whether internal controls around contract management and key processes are in place and operating effectively at the un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t>
            </a: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Verify compliance with applicable policies &amp; procedures, and standard business pract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And </a:t>
            </a:r>
            <a:r>
              <a:rPr lang="en-US" dirty="0"/>
              <a:t>3. </a:t>
            </a: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Recommend improvements on processes and internal control environment to remediate gaps, deficiencies and non-compliance no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We are in the process of conducting 5 site audits in July and August and with the full program starting in September. These will not be surprise audits like they were in the past. We will give at least 2 weeks advance notice to the DM and GM of the site. You can see here the focus areas included in the audits, with potential for other areas as we deem necessary. Following our audit, we will issue the Site Audit Report to relevant stakeholders.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Also, there could potentially be limited scope or themed audits if we see common or recurring issues or tren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That concludes our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rPr>
              <a:t>Our last slide is for 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ysClr val="window" lastClr="FFFFFF"/>
              </a:solidFill>
              <a:effectLst/>
              <a:uLnTx/>
              <a:uFillTx/>
              <a:latin typeface="Arial" panose="020B0604020202020204"/>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2037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 questions?</a:t>
            </a:r>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2985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E2D-970F-D608-3F59-7559EA419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8E3B8-4E44-A608-097D-41C713EF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A1A4B8-028F-31E0-7639-21C04D70300D}"/>
              </a:ext>
            </a:extLst>
          </p:cNvPr>
          <p:cNvSpPr>
            <a:spLocks noGrp="1"/>
          </p:cNvSpPr>
          <p:nvPr>
            <p:ph type="body" idx="1"/>
          </p:nvPr>
        </p:nvSpPr>
        <p:spPr/>
        <p:txBody>
          <a:bodyPr/>
          <a:lstStyle/>
          <a:p>
            <a:r>
              <a:rPr lang="en-US" dirty="0"/>
              <a:t>What - Info Security Access Request form is evolving into a centralized IT hub called SoUnified (access, service requests, incidents, changes, etc.).</a:t>
            </a:r>
          </a:p>
          <a:p>
            <a:r>
              <a:rPr lang="en-US" dirty="0"/>
              <a:t>When:  Friday, June 21.  Starting Friday, if you need to request access to applications (all included), you will need to use the new request process through SoUnified.   </a:t>
            </a:r>
          </a:p>
          <a:p>
            <a:r>
              <a:rPr lang="en-US" dirty="0"/>
              <a:t>How:  The form can be found within SoUnified, which is the center tile on the SDX Net launch site.</a:t>
            </a:r>
          </a:p>
          <a:p>
            <a:r>
              <a:rPr lang="en-US" dirty="0"/>
              <a:t>Training is available - You may have seen communications in The Loop, or on the training calls offered at the end of May and again this week.  </a:t>
            </a:r>
          </a:p>
          <a:p>
            <a:r>
              <a:rPr lang="en-US" dirty="0"/>
              <a:t>Training available </a:t>
            </a:r>
          </a:p>
          <a:p>
            <a:r>
              <a:rPr lang="en-US" dirty="0"/>
              <a:t>	How to log into SoUnified (like submitting an incident for the SDX Service Desk) very much the same process – option to submit a request</a:t>
            </a:r>
          </a:p>
          <a:p>
            <a:r>
              <a:rPr lang="en-US" dirty="0"/>
              <a:t>	How to navigate – Noram Identity &amp; Access Requests to show the Service Catalog tiles</a:t>
            </a:r>
          </a:p>
          <a:p>
            <a:r>
              <a:rPr lang="en-US" dirty="0"/>
              <a:t>	How to request – select tile from KB</a:t>
            </a:r>
          </a:p>
          <a:p>
            <a:r>
              <a:rPr lang="en-US" dirty="0"/>
              <a:t>	How to create a Service Request – form populates from selected tile – your user details populate as beneficiary</a:t>
            </a:r>
          </a:p>
          <a:p>
            <a:r>
              <a:rPr lang="en-US" dirty="0"/>
              <a:t>	How to access and existing Service Requ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ining </a:t>
            </a:r>
            <a:r>
              <a:rPr lang="en-US" sz="1800" u="sng" dirty="0">
                <a:solidFill>
                  <a:srgbClr val="0000FF"/>
                </a:solidFill>
                <a:effectLst/>
                <a:latin typeface="Aptos" panose="020B0004020202020204" pitchFamily="34" charset="0"/>
                <a:ea typeface="Aptos" panose="020B0004020202020204" pitchFamily="34" charset="0"/>
                <a:cs typeface="Aptos" panose="020B0004020202020204" pitchFamily="34" charset="0"/>
                <a:hlinkClick r:id="rId3" tooltip="open in new tab"/>
              </a:rPr>
              <a:t>Join the live training at 11:00 a.m. ET on Thursday, June 20</a:t>
            </a:r>
            <a:endParaRPr lang="en-US" sz="1800" u="sng" dirty="0">
              <a:solidFill>
                <a:srgbClr val="0000FF"/>
              </a:solidFill>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hlinkClick r:id="rId4"/>
              </a:rPr>
              <a:t>Information Security Access Request Moving to SoUnified (sodexonet.com)</a:t>
            </a:r>
            <a:endParaRPr lang="en-US" sz="1800" dirty="0">
              <a:effectLst/>
              <a:latin typeface="Aptos" panose="020B0004020202020204" pitchFamily="34" charset="0"/>
              <a:ea typeface="Aptos" panose="020B0004020202020204" pitchFamily="34" charset="0"/>
              <a:cs typeface="Aptos" panose="020B0004020202020204" pitchFamily="34" charset="0"/>
            </a:endParaRPr>
          </a:p>
          <a:p>
            <a:r>
              <a:rPr lang="en-US" dirty="0"/>
              <a:t>Impacts both access requests and approvals, if you have Direct Reports.  (approvers will still receive emails)  </a:t>
            </a:r>
          </a:p>
          <a:p>
            <a:r>
              <a:rPr lang="en-US" dirty="0"/>
              <a:t>Enhanced visibility to tracking and status</a:t>
            </a:r>
          </a:p>
          <a:p>
            <a:endParaRPr lang="en-US" dirty="0"/>
          </a:p>
        </p:txBody>
      </p:sp>
      <p:sp>
        <p:nvSpPr>
          <p:cNvPr id="4" name="Slide Number Placeholder 3">
            <a:extLst>
              <a:ext uri="{FF2B5EF4-FFF2-40B4-BE49-F238E27FC236}">
                <a16:creationId xmlns:a16="http://schemas.microsoft.com/office/drawing/2014/main" id="{679105D2-A92C-78EC-AC1D-0BF21906D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520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highlight>
                  <a:srgbClr val="FFFFFF"/>
                </a:highlight>
                <a:latin typeface="Arial" panose="020B0604020202020204" pitchFamily="34" charset="0"/>
              </a:rPr>
              <a:t>Beginning June 21, all </a:t>
            </a:r>
            <a:r>
              <a:rPr lang="en-US" b="0" i="0" u="none" strike="noStrike" dirty="0">
                <a:solidFill>
                  <a:srgbClr val="283897"/>
                </a:solidFill>
                <a:effectLst/>
                <a:highlight>
                  <a:srgbClr val="FFFFFF"/>
                </a:highlight>
                <a:latin typeface="Arial" panose="020B0604020202020204" pitchFamily="34" charset="0"/>
                <a:hlinkClick r:id="rId3" tooltip="Opens in new window"/>
              </a:rPr>
              <a:t>information security access requests must be submitted through </a:t>
            </a:r>
            <a:r>
              <a:rPr lang="en-US" b="0" i="0" u="none" strike="noStrike" dirty="0" err="1">
                <a:solidFill>
                  <a:srgbClr val="283897"/>
                </a:solidFill>
                <a:effectLst/>
                <a:highlight>
                  <a:srgbClr val="FFFFFF"/>
                </a:highlight>
                <a:latin typeface="Arial" panose="020B0604020202020204" pitchFamily="34" charset="0"/>
                <a:hlinkClick r:id="rId3" tooltip="Opens in new window"/>
              </a:rPr>
              <a:t>SoUnified</a:t>
            </a:r>
            <a:r>
              <a:rPr lang="en-US" b="0" i="0" dirty="0">
                <a:solidFill>
                  <a:srgbClr val="000000"/>
                </a:solidFill>
                <a:effectLst/>
                <a:highlight>
                  <a:srgbClr val="FFFFFF"/>
                </a:highlight>
                <a:latin typeface="Arial" panose="020B0604020202020204" pitchFamily="34" charset="0"/>
              </a:rPr>
              <a:t>. You will use </a:t>
            </a:r>
            <a:r>
              <a:rPr lang="en-US" b="0" i="0" dirty="0" err="1">
                <a:solidFill>
                  <a:srgbClr val="000000"/>
                </a:solidFill>
                <a:effectLst/>
                <a:highlight>
                  <a:srgbClr val="FFFFFF"/>
                </a:highlight>
                <a:latin typeface="Arial" panose="020B0604020202020204" pitchFamily="34" charset="0"/>
              </a:rPr>
              <a:t>SoUnified</a:t>
            </a:r>
            <a:r>
              <a:rPr lang="en-US" b="0" i="0" dirty="0">
                <a:solidFill>
                  <a:srgbClr val="000000"/>
                </a:solidFill>
                <a:effectLst/>
                <a:highlight>
                  <a:srgbClr val="FFFFFF"/>
                </a:highlight>
                <a:latin typeface="Arial" panose="020B0604020202020204" pitchFamily="34" charset="0"/>
              </a:rPr>
              <a:t> to request employee access to </a:t>
            </a:r>
            <a:r>
              <a:rPr lang="en-US" b="0" i="0" dirty="0" err="1">
                <a:solidFill>
                  <a:srgbClr val="000000"/>
                </a:solidFill>
                <a:effectLst/>
                <a:highlight>
                  <a:srgbClr val="FFFFFF"/>
                </a:highlight>
                <a:latin typeface="Arial" panose="020B0604020202020204" pitchFamily="34" charset="0"/>
              </a:rPr>
              <a:t>Sodexo_Net</a:t>
            </a:r>
            <a:r>
              <a:rPr lang="en-US" b="0" i="0" dirty="0">
                <a:solidFill>
                  <a:srgbClr val="000000"/>
                </a:solidFill>
                <a:effectLst/>
                <a:highlight>
                  <a:srgbClr val="FFFFFF"/>
                </a:highlight>
                <a:latin typeface="Arial" panose="020B0604020202020204" pitchFamily="34" charset="0"/>
              </a:rPr>
              <a:t>, </a:t>
            </a:r>
            <a:r>
              <a:rPr lang="en-US" b="0" i="0" dirty="0" err="1">
                <a:solidFill>
                  <a:srgbClr val="000000"/>
                </a:solidFill>
                <a:effectLst/>
                <a:highlight>
                  <a:srgbClr val="FFFFFF"/>
                </a:highlight>
                <a:latin typeface="Arial" panose="020B0604020202020204" pitchFamily="34" charset="0"/>
              </a:rPr>
              <a:t>MySodexo</a:t>
            </a:r>
            <a:r>
              <a:rPr lang="en-US" b="0" i="0" dirty="0">
                <a:solidFill>
                  <a:srgbClr val="000000"/>
                </a:solidFill>
                <a:effectLst/>
                <a:highlight>
                  <a:srgbClr val="FFFFFF"/>
                </a:highlight>
                <a:latin typeface="Arial" panose="020B0604020202020204" pitchFamily="34" charset="0"/>
              </a:rPr>
              <a:t>, email and all other Sodexo applications previously requested through the Information Security Access Request Form.</a:t>
            </a:r>
          </a:p>
          <a:p>
            <a:pPr algn="l"/>
            <a:r>
              <a:rPr lang="en-US" b="0" i="0" dirty="0" err="1">
                <a:solidFill>
                  <a:srgbClr val="000000"/>
                </a:solidFill>
                <a:effectLst/>
                <a:highlight>
                  <a:srgbClr val="FFFFFF"/>
                </a:highlight>
                <a:latin typeface="Arial" panose="020B0604020202020204" pitchFamily="34" charset="0"/>
              </a:rPr>
              <a:t>SoUnified</a:t>
            </a:r>
            <a:r>
              <a:rPr lang="en-US" b="0" i="0" dirty="0">
                <a:solidFill>
                  <a:srgbClr val="000000"/>
                </a:solidFill>
                <a:effectLst/>
                <a:highlight>
                  <a:srgbClr val="FFFFFF"/>
                </a:highlight>
                <a:latin typeface="Arial" panose="020B0604020202020204" pitchFamily="34" charset="0"/>
              </a:rPr>
              <a:t> is a self-service portal that provides a single place to request and track your support requests. This is part of a global initiative to streamline how we manage information technology support and provide customers with quicker, more efficient service.</a:t>
            </a:r>
          </a:p>
          <a:p>
            <a:endParaRPr lang="en-US" dirty="0"/>
          </a:p>
        </p:txBody>
      </p:sp>
      <p:sp>
        <p:nvSpPr>
          <p:cNvPr id="4" name="Slide Number Placeholder 3"/>
          <p:cNvSpPr>
            <a:spLocks noGrp="1"/>
          </p:cNvSpPr>
          <p:nvPr>
            <p:ph type="sldNum" sz="quarter" idx="5"/>
          </p:nvPr>
        </p:nvSpPr>
        <p:spPr/>
        <p:txBody>
          <a:bodyPr/>
          <a:lstStyle/>
          <a:p>
            <a:fld id="{C39B3082-39AC-4E05-8EB6-D119EF4B8E28}" type="slidenum">
              <a:rPr lang="en-US" smtClean="0"/>
              <a:t>28</a:t>
            </a:fld>
            <a:endParaRPr lang="en-US"/>
          </a:p>
        </p:txBody>
      </p:sp>
    </p:spTree>
    <p:extLst>
      <p:ext uri="{BB962C8B-B14F-4D97-AF65-F5344CB8AC3E}">
        <p14:creationId xmlns:p14="http://schemas.microsoft.com/office/powerpoint/2010/main" val="689439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r guides are available for UFS update/remove access and UFS New Node security change requests.  (Same as before)</a:t>
            </a:r>
          </a:p>
          <a:p>
            <a:r>
              <a:rPr lang="en-US" dirty="0"/>
              <a:t>User guides are posted on the UFS launch site, the UFS Support site on Sodexo Net, and the </a:t>
            </a:r>
            <a:r>
              <a:rPr lang="en-US" dirty="0" err="1"/>
              <a:t>SoUnified</a:t>
            </a:r>
            <a:r>
              <a:rPr lang="en-US" dirty="0"/>
              <a:t> Knowledgebase.</a:t>
            </a:r>
          </a:p>
        </p:txBody>
      </p:sp>
      <p:sp>
        <p:nvSpPr>
          <p:cNvPr id="4" name="Slide Number Placeholder 3"/>
          <p:cNvSpPr>
            <a:spLocks noGrp="1"/>
          </p:cNvSpPr>
          <p:nvPr>
            <p:ph type="sldNum" sz="quarter" idx="5"/>
          </p:nvPr>
        </p:nvSpPr>
        <p:spPr/>
        <p:txBody>
          <a:bodyPr/>
          <a:lstStyle/>
          <a:p>
            <a:fld id="{C39B3082-39AC-4E05-8EB6-D119EF4B8E28}" type="slidenum">
              <a:rPr lang="en-US" smtClean="0"/>
              <a:t>29</a:t>
            </a:fld>
            <a:endParaRPr lang="en-US"/>
          </a:p>
        </p:txBody>
      </p:sp>
    </p:spTree>
    <p:extLst>
      <p:ext uri="{BB962C8B-B14F-4D97-AF65-F5344CB8AC3E}">
        <p14:creationId xmlns:p14="http://schemas.microsoft.com/office/powerpoint/2010/main" val="17675123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E2D-970F-D608-3F59-7559EA419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8E3B8-4E44-A608-097D-41C713EF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A1A4B8-028F-31E0-7639-21C04D70300D}"/>
              </a:ext>
            </a:extLst>
          </p:cNvPr>
          <p:cNvSpPr>
            <a:spLocks noGrp="1"/>
          </p:cNvSpPr>
          <p:nvPr>
            <p:ph type="body" idx="1"/>
          </p:nvPr>
        </p:nvSpPr>
        <p:spPr/>
        <p:txBody>
          <a:bodyPr/>
          <a:lstStyle/>
          <a:p>
            <a:r>
              <a:rPr lang="en-US" dirty="0"/>
              <a:t>Information and Access Management Form</a:t>
            </a:r>
          </a:p>
        </p:txBody>
      </p:sp>
      <p:sp>
        <p:nvSpPr>
          <p:cNvPr id="4" name="Slide Number Placeholder 3">
            <a:extLst>
              <a:ext uri="{FF2B5EF4-FFF2-40B4-BE49-F238E27FC236}">
                <a16:creationId xmlns:a16="http://schemas.microsoft.com/office/drawing/2014/main" id="{679105D2-A92C-78EC-AC1D-0BF21906D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2854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E2D-970F-D608-3F59-7559EA419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8E3B8-4E44-A608-097D-41C713EF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A1A4B8-028F-31E0-7639-21C04D70300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79105D2-A92C-78EC-AC1D-0BF21906D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9958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Stars of Finance Awards (sodexonet.com)</a:t>
            </a:r>
            <a:endParaRPr lang="en-US" dirty="0"/>
          </a:p>
          <a:p>
            <a:pPr algn="l"/>
            <a:r>
              <a:rPr lang="en-US" b="0" i="0" dirty="0">
                <a:solidFill>
                  <a:srgbClr val="000000"/>
                </a:solidFill>
                <a:effectLst/>
                <a:highlight>
                  <a:srgbClr val="FFFFFF"/>
                </a:highlight>
                <a:latin typeface="Arial" panose="020B0604020202020204" pitchFamily="34" charset="0"/>
              </a:rPr>
              <a:t>There is no limit to the number of nominations you can submit, and you need not be a member of Finance to enter a nomination--anyone can nominate an outstanding finance professional.</a:t>
            </a:r>
          </a:p>
          <a:p>
            <a:pPr algn="l"/>
            <a:r>
              <a:rPr lang="en-US" b="0" i="0" dirty="0">
                <a:solidFill>
                  <a:srgbClr val="000000"/>
                </a:solidFill>
                <a:effectLst/>
                <a:highlight>
                  <a:srgbClr val="FFFFFF"/>
                </a:highlight>
                <a:latin typeface="Arial" panose="020B0604020202020204" pitchFamily="34" charset="0"/>
              </a:rPr>
              <a:t>This extended nomination period is a great way to recognize our Finance colleagues for their achievements as they occur, while also avoiding the rush to submit a nomination during the typical shorter call for nominations period, which could be months after the individual or team’s accomplishment.</a:t>
            </a:r>
          </a:p>
          <a:p>
            <a:pPr algn="l"/>
            <a:r>
              <a:rPr lang="en-US" b="0" i="0" dirty="0">
                <a:solidFill>
                  <a:srgbClr val="000000"/>
                </a:solidFill>
                <a:effectLst/>
                <a:highlight>
                  <a:srgbClr val="FFFFFF"/>
                </a:highlight>
                <a:latin typeface="Arial" panose="020B0604020202020204" pitchFamily="34" charset="0"/>
              </a:rPr>
              <a:t>Shortly after you submit a nomination, your nominee will receive a notification along with a personalized message from you  recognizing their contribution.</a:t>
            </a:r>
          </a:p>
          <a:p>
            <a:pPr algn="l"/>
            <a:r>
              <a:rPr lang="en-US" b="0" i="0" dirty="0">
                <a:solidFill>
                  <a:srgbClr val="000000"/>
                </a:solidFill>
                <a:effectLst/>
                <a:highlight>
                  <a:srgbClr val="FFFFFF"/>
                </a:highlight>
                <a:latin typeface="Arial" panose="020B0604020202020204" pitchFamily="34" charset="0"/>
              </a:rPr>
              <a:t>In September, our selection team will review the nominations submitted throughout the year and choose our FY2024 winners, who will be announced and receive their awards during the annual ceremony in the fal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50785-0434-4366-8B2A-93A9C411C17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207633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39B3082-39AC-4E05-8EB6-D119EF4B8E28}" type="slidenum">
              <a:rPr lang="en-US" smtClean="0"/>
              <a:t>35</a:t>
            </a:fld>
            <a:endParaRPr lang="en-US" dirty="0"/>
          </a:p>
        </p:txBody>
      </p:sp>
    </p:spTree>
    <p:extLst>
      <p:ext uri="{BB962C8B-B14F-4D97-AF65-F5344CB8AC3E}">
        <p14:creationId xmlns:p14="http://schemas.microsoft.com/office/powerpoint/2010/main" val="45088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With heat comes thunderstorms and lightning! Here are some tips to help keep you safe during a storm. </a:t>
            </a:r>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35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212121"/>
                </a:solidFill>
                <a:effectLst/>
                <a:latin typeface="Segoe UI" panose="020B0502040204020203" pitchFamily="34" charset="0"/>
              </a:rPr>
              <a:t>Know your area’s risk for thunderstorms. In most places they can occur year-round at any hour. </a:t>
            </a:r>
            <a:r>
              <a:rPr lang="en-US" b="0" i="0" dirty="0">
                <a:solidFill>
                  <a:srgbClr val="1B1B1B"/>
                </a:solidFill>
                <a:effectLst/>
                <a:latin typeface="Source Sans Pro Web"/>
              </a:rPr>
              <a:t>Lightning is a leading cause of injury and death from weather-related hazards. Although most lightning victims survive, people struck by lightning often report a variety of long-term, debilitating symptoms.</a:t>
            </a:r>
            <a:endParaRPr lang="en-US" b="1" i="0" dirty="0">
              <a:solidFill>
                <a:srgbClr val="212121"/>
              </a:solidFill>
              <a:effectLst/>
              <a:latin typeface="Segoe UI" panose="020B0502040204020203" pitchFamily="34" charset="0"/>
            </a:endParaRPr>
          </a:p>
          <a:p>
            <a:pPr marL="0" indent="0" algn="l">
              <a:buFont typeface="Arial" panose="020B0604020202020204" pitchFamily="34" charset="0"/>
              <a:buNone/>
            </a:pPr>
            <a:endParaRPr lang="en-US" b="0" i="0" dirty="0">
              <a:solidFill>
                <a:srgbClr val="212121"/>
              </a:solidFill>
              <a:effectLst/>
              <a:latin typeface="Segoe UI" panose="020B0502040204020203" pitchFamily="34" charset="0"/>
            </a:endParaRPr>
          </a:p>
          <a:p>
            <a:pPr algn="l"/>
            <a:r>
              <a:rPr lang="en-US" dirty="0">
                <a:solidFill>
                  <a:srgbClr val="212121"/>
                </a:solidFill>
                <a:latin typeface="Arial" panose="020B0604020202020204" pitchFamily="34" charset="0"/>
                <a:cs typeface="Arial" panose="020B0604020202020204" pitchFamily="34" charset="0"/>
              </a:rPr>
              <a:t>Thunderstorms are dangerous storms that include lightning and can create or cause:</a:t>
            </a:r>
          </a:p>
          <a:p>
            <a:pPr marL="285750" indent="-285750" algn="l">
              <a:buFont typeface="Arial" panose="020B0604020202020204" pitchFamily="34" charset="0"/>
              <a:buChar char="•"/>
            </a:pPr>
            <a:r>
              <a:rPr lang="en-US" dirty="0">
                <a:solidFill>
                  <a:srgbClr val="212121"/>
                </a:solidFill>
                <a:latin typeface="Arial" panose="020B0604020202020204" pitchFamily="34" charset="0"/>
                <a:cs typeface="Arial" panose="020B0604020202020204" pitchFamily="34" charset="0"/>
              </a:rPr>
              <a:t>Powerful winds over 50 mph</a:t>
            </a:r>
          </a:p>
          <a:p>
            <a:pPr marL="285750" indent="-285750" algn="l">
              <a:buFont typeface="Arial" panose="020B0604020202020204" pitchFamily="34" charset="0"/>
              <a:buChar char="•"/>
            </a:pPr>
            <a:r>
              <a:rPr lang="en-US" dirty="0">
                <a:solidFill>
                  <a:srgbClr val="212121"/>
                </a:solidFill>
                <a:latin typeface="Arial" panose="020B0604020202020204" pitchFamily="34" charset="0"/>
                <a:cs typeface="Arial" panose="020B0604020202020204" pitchFamily="34" charset="0"/>
              </a:rPr>
              <a:t>Hail</a:t>
            </a:r>
          </a:p>
          <a:p>
            <a:pPr marL="285750" indent="-285750" algn="l">
              <a:buFont typeface="Arial" panose="020B0604020202020204" pitchFamily="34" charset="0"/>
              <a:buChar char="•"/>
            </a:pPr>
            <a:r>
              <a:rPr lang="en-US" dirty="0">
                <a:solidFill>
                  <a:srgbClr val="212121"/>
                </a:solidFill>
                <a:latin typeface="Arial" panose="020B0604020202020204" pitchFamily="34" charset="0"/>
                <a:cs typeface="Arial" panose="020B0604020202020204" pitchFamily="34" charset="0"/>
              </a:rPr>
              <a:t>Flash flooding and/or tornadoes</a:t>
            </a:r>
          </a:p>
          <a:p>
            <a:pPr marL="0" indent="0" algn="l">
              <a:buFont typeface="Arial" panose="020B0604020202020204" pitchFamily="34" charset="0"/>
              <a:buNone/>
            </a:pPr>
            <a:endParaRPr lang="en-US" b="0" i="0" dirty="0">
              <a:solidFill>
                <a:srgbClr val="212121"/>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solidFill>
                  <a:srgbClr val="1B1B1B"/>
                </a:solidFill>
                <a:effectLst/>
                <a:latin typeface="Source Sans Pro Web"/>
              </a:rPr>
              <a:t>If you are under a thunderstorm warning:</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When thunder roars, go indoors! Move from outdoors into a building or car with a roof.</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Pay attention to alerts and warnings.</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Avoid using electronic devices connected to an electrical outlet.</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Avoid running water.</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Turn Around. Don’t Drown! Do not drive through flooded roadways. Just six inches of fast-moving water can knock you down, and one foot of moving water can sweep your vehicle away.</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Pay attention to authorities and weather forecasts for information on whether it is safe to go outside and instructions regarding potential flash flooding.</a:t>
            </a:r>
          </a:p>
          <a:p>
            <a:pPr marL="285750" indent="-285750" algn="l">
              <a:buFont typeface="Arial" panose="020B0604020202020204" pitchFamily="34" charset="0"/>
              <a:buChar char="•"/>
            </a:pPr>
            <a:r>
              <a:rPr lang="en-US" b="0" i="0" dirty="0">
                <a:solidFill>
                  <a:srgbClr val="212121"/>
                </a:solidFill>
                <a:effectLst/>
                <a:latin typeface="Segoe UI" panose="020B0502040204020203" pitchFamily="34" charset="0"/>
              </a:rPr>
              <a:t>Watch for fallen power lines and trees. Report them immediatel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7AF8F2-6877-4282-93B5-5EEDAD2B91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689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16373"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6373" rtl="0" eaLnBrk="1" fontAlgn="auto" latinLnBrk="0" hangingPunct="1">
                <a:lnSpc>
                  <a:spcPct val="100000"/>
                </a:lnSpc>
                <a:spcBef>
                  <a:spcPts val="0"/>
                </a:spcBef>
                <a:spcAft>
                  <a:spcPts val="0"/>
                </a:spcAft>
                <a:buClrTx/>
                <a:buSzTx/>
                <a:buFontTx/>
                <a:buNone/>
                <a:tabLst/>
                <a:defRPr/>
              </a:pPr>
              <a:t>5</a:t>
            </a:fld>
            <a:endParaRPr kumimoji="0" lang="en-AU"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8657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16373" rtl="0" eaLnBrk="1" fontAlgn="auto" latinLnBrk="0" hangingPunct="1">
              <a:lnSpc>
                <a:spcPct val="100000"/>
              </a:lnSpc>
              <a:spcBef>
                <a:spcPts val="0"/>
              </a:spcBef>
              <a:spcAft>
                <a:spcPts val="0"/>
              </a:spcAft>
              <a:buClrTx/>
              <a:buSzTx/>
              <a:buFontTx/>
              <a:buNone/>
              <a:tabLst/>
              <a:defRPr/>
            </a:pPr>
            <a:fld id="{0EF05BAA-92F6-4DEA-A832-E4B15A2F525C}" type="slidenum">
              <a:rPr kumimoji="0" lang="en-AU"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6373" rtl="0" eaLnBrk="1" fontAlgn="auto" latinLnBrk="0" hangingPunct="1">
                <a:lnSpc>
                  <a:spcPct val="100000"/>
                </a:lnSpc>
                <a:spcBef>
                  <a:spcPts val="0"/>
                </a:spcBef>
                <a:spcAft>
                  <a:spcPts val="0"/>
                </a:spcAft>
                <a:buClrTx/>
                <a:buSzTx/>
                <a:buFontTx/>
                <a:buNone/>
                <a:tabLst/>
                <a:defRPr/>
              </a:pPr>
              <a:t>8</a:t>
            </a:fld>
            <a:endParaRPr kumimoji="0" lang="en-AU"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44096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2ABE7-2595-60F4-3117-2A9059184B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F39DDE-AE61-F819-FECC-CCC7614AC4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469D09-6EB6-D499-0009-DB70673B3C1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3E1E269-1DA4-9950-4C5F-4DA48D6AA3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582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1CE2D-970F-D608-3F59-7559EA419E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F8E3B8-4E44-A608-097D-41C713EFC0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A1A4B8-028F-31E0-7639-21C04D70300D}"/>
              </a:ext>
            </a:extLst>
          </p:cNvPr>
          <p:cNvSpPr>
            <a:spLocks noGrp="1"/>
          </p:cNvSpPr>
          <p:nvPr>
            <p:ph type="body" idx="1"/>
          </p:nvPr>
        </p:nvSpPr>
        <p:spPr/>
        <p:txBody>
          <a:bodyPr/>
          <a:lstStyle/>
          <a:p>
            <a:r>
              <a:rPr lang="en-US" dirty="0"/>
              <a:t>Hello. Today we will be discussing some Internal Control updates with you.  The updates will be related to Inventory Management, the Ernst and Young year-end Inventory and Cash Audit and the return of the NorAm Site Audit Program.</a:t>
            </a:r>
          </a:p>
          <a:p>
            <a:r>
              <a:rPr lang="en-US" dirty="0"/>
              <a:t>Please move to the next slide.</a:t>
            </a:r>
          </a:p>
          <a:p>
            <a:endParaRPr lang="en-US" dirty="0"/>
          </a:p>
        </p:txBody>
      </p:sp>
      <p:sp>
        <p:nvSpPr>
          <p:cNvPr id="4" name="Slide Number Placeholder 3">
            <a:extLst>
              <a:ext uri="{FF2B5EF4-FFF2-40B4-BE49-F238E27FC236}">
                <a16:creationId xmlns:a16="http://schemas.microsoft.com/office/drawing/2014/main" id="{679105D2-A92C-78EC-AC1D-0BF21906DD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4F3EF0-6A98-4171-BEC1-9A2799ADA6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332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eys to having success with inventory management is reading and understanding AF Topic 832-01 Inventory Control and completing the training. All employees that are involved with the inventory process, including frontline and management employees, are required to complete the inventory training.</a:t>
            </a:r>
          </a:p>
          <a:p>
            <a:endParaRPr lang="en-US" dirty="0"/>
          </a:p>
          <a:p>
            <a:r>
              <a:rPr lang="en-US" dirty="0"/>
              <a:t>For those employees involved with the inventory process and that have access to Ingenium, they are required to complete this Inventory Management training.  Link to the training is in the box on this slide. </a:t>
            </a:r>
          </a:p>
          <a:p>
            <a:r>
              <a:rPr lang="en-US" dirty="0"/>
              <a:t>For all frontline employees or others that do not have access to Ingenium, the Site Manager is responsible to conduct the TOPs training with them. Be sure to have a sign-in sheet to document those that completed the training and keep on site. </a:t>
            </a:r>
          </a:p>
          <a:p>
            <a:r>
              <a:rPr lang="en-US" dirty="0"/>
              <a:t>Next slide pl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9B3082-39AC-4E05-8EB6-D119EF4B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21654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 Id="rId6" Type="http://schemas.openxmlformats.org/officeDocument/2006/relationships/image" Target="../media/image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 Id="rId6" Type="http://schemas.openxmlformats.org/officeDocument/2006/relationships/image" Target="../media/image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7.svg"/><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en-US" noProof="0" dirty="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dirty="0"/>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4.  All rights Reserved</a:t>
            </a:r>
            <a:endParaRPr lang="en-US" noProof="0" dirty="0"/>
          </a:p>
        </p:txBody>
      </p:sp>
    </p:spTree>
    <p:extLst>
      <p:ext uri="{BB962C8B-B14F-4D97-AF65-F5344CB8AC3E}">
        <p14:creationId xmlns:p14="http://schemas.microsoft.com/office/powerpoint/2010/main" val="126830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38848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462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7911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1625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40013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110897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718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55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5394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5600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5193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04907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0589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6304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40150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8766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95631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5430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4383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5721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7149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03097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t>
            </a:r>
            <a:r>
              <a:rPr lang="en-US" noProof="0" err="1"/>
              <a:t>amet</a:t>
            </a:r>
            <a:endParaRPr lang="en-US" noProof="0"/>
          </a:p>
          <a:p>
            <a:pPr lvl="1"/>
            <a:r>
              <a:rPr lang="en-US" noProof="0"/>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1572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97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269113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5861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5553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4848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9034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21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1_//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703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1_//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502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200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70657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4208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1_//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268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4" y="1"/>
            <a:ext cx="4256087" cy="438151"/>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33">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7"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5"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8"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4265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_//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579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408609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93028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323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063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946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Titre 3">
            <a:extLst>
              <a:ext uri="{FF2B5EF4-FFF2-40B4-BE49-F238E27FC236}">
                <a16:creationId xmlns:a16="http://schemas.microsoft.com/office/drawing/2014/main" id="{FCE24A74-C0D5-4C66-9D11-7BFD8F8C8F3E}"/>
              </a:ext>
            </a:extLst>
          </p:cNvPr>
          <p:cNvSpPr>
            <a:spLocks noGrp="1"/>
          </p:cNvSpPr>
          <p:nvPr>
            <p:ph type="title" hasCustomPrompt="1"/>
          </p:nvPr>
        </p:nvSpPr>
        <p:spPr>
          <a:xfrm>
            <a:off x="443280" y="489839"/>
            <a:ext cx="10515600" cy="346249"/>
          </a:xfrm>
        </p:spPr>
        <p:txBody>
          <a:bodyPr/>
          <a:lstStyle/>
          <a:p>
            <a:r>
              <a:rPr lang="en-US" noProof="0"/>
              <a:t>Title, text level 1</a:t>
            </a:r>
          </a:p>
        </p:txBody>
      </p:sp>
    </p:spTree>
    <p:extLst>
      <p:ext uri="{BB962C8B-B14F-4D97-AF65-F5344CB8AC3E}">
        <p14:creationId xmlns:p14="http://schemas.microsoft.com/office/powerpoint/2010/main" val="244520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3479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040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7181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7147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3086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2258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5194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455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9732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638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81040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0152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907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4701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7928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6367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0244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039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7091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1574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blank" preserve="1">
  <p:cSld name="2_//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342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22595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2_//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541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2_//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804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2_//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042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2_//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078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819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marL="0" marR="0" lvl="0" indent="0" algn="ctr" defTabSz="609585" rtl="0" eaLnBrk="0" fontAlgn="auto" latinLnBrk="0" hangingPunct="0">
              <a:lnSpc>
                <a:spcPct val="90000"/>
              </a:lnSpc>
              <a:spcBef>
                <a:spcPts val="0"/>
              </a:spcBef>
              <a:spcAft>
                <a:spcPts val="0"/>
              </a:spcAft>
              <a:buClr>
                <a:srgbClr val="FF3333"/>
              </a:buClr>
              <a:buSzPct val="120000"/>
              <a:buFontTx/>
              <a:buNone/>
              <a:tabLst>
                <a:tab pos="1082675" algn="l"/>
                <a:tab pos="1616075" algn="l"/>
                <a:tab pos="2149475" algn="l"/>
                <a:tab pos="8077200" algn="r"/>
              </a:tabLst>
              <a:defRPr/>
            </a:pPr>
            <a:fld id="{B0A9F6E7-FE5B-4861-9484-6E92718E32B1}" type="slidenum">
              <a:rPr kumimoji="0" lang="en-US" sz="7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ctr" defTabSz="609585" rtl="0" eaLnBrk="0" fontAlgn="auto" latinLnBrk="0" hangingPunct="0">
                <a:lnSpc>
                  <a:spcPct val="90000"/>
                </a:lnSpc>
                <a:spcBef>
                  <a:spcPts val="0"/>
                </a:spcBef>
                <a:spcAft>
                  <a:spcPts val="0"/>
                </a:spcAft>
                <a:buClr>
                  <a:srgbClr val="FF3333"/>
                </a:buClr>
                <a:buSzPct val="120000"/>
                <a:buFontTx/>
                <a:buNone/>
                <a:tabLst>
                  <a:tab pos="1082675" algn="l"/>
                  <a:tab pos="1616075" algn="l"/>
                  <a:tab pos="2149475" algn="l"/>
                  <a:tab pos="8077200" algn="r"/>
                </a:tabLst>
                <a:defRPr/>
              </a:pPr>
              <a:t>‹#›</a:t>
            </a:fld>
            <a:r>
              <a:rPr kumimoji="0" lang="en-US" sz="700" b="0" i="0" u="none" strike="noStrike" kern="1200" cap="none" spc="0" normalizeH="0" baseline="0" noProof="0">
                <a:ln>
                  <a:noFill/>
                </a:ln>
                <a:solidFill>
                  <a:srgbClr val="000000"/>
                </a:solidFill>
                <a:effectLst/>
                <a:uLnTx/>
                <a:uFillTx/>
                <a:latin typeface="Arial" panose="020B0604020202020204"/>
                <a:ea typeface="+mn-ea"/>
                <a:cs typeface="+mn-cs"/>
              </a:rPr>
              <a:t> – </a:t>
            </a:r>
            <a:endParaRPr kumimoji="0" lang="en-US"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Footer Placeholder 4">
            <a:extLst>
              <a:ext uri="{FF2B5EF4-FFF2-40B4-BE49-F238E27FC236}">
                <a16:creationId xmlns:a16="http://schemas.microsoft.com/office/drawing/2014/main" id="{1C9BA662-CA23-4F8D-BE35-85A4C80B294A}"/>
              </a:ext>
            </a:extLst>
          </p:cNvPr>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p>
        </p:txBody>
      </p:sp>
    </p:spTree>
    <p:extLst>
      <p:ext uri="{BB962C8B-B14F-4D97-AF65-F5344CB8AC3E}">
        <p14:creationId xmlns:p14="http://schemas.microsoft.com/office/powerpoint/2010/main" val="22416281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en-US" noProof="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4.  All rights Reserved</a:t>
            </a:r>
          </a:p>
        </p:txBody>
      </p:sp>
    </p:spTree>
    <p:extLst>
      <p:ext uri="{BB962C8B-B14F-4D97-AF65-F5344CB8AC3E}">
        <p14:creationId xmlns:p14="http://schemas.microsoft.com/office/powerpoint/2010/main" val="151893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4.  All rights Reserved</a:t>
            </a:r>
          </a:p>
        </p:txBody>
      </p:sp>
    </p:spTree>
    <p:extLst>
      <p:ext uri="{BB962C8B-B14F-4D97-AF65-F5344CB8AC3E}">
        <p14:creationId xmlns:p14="http://schemas.microsoft.com/office/powerpoint/2010/main" val="54385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182413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201058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fr-FR"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err="1"/>
              <a:t>Title</a:t>
            </a:r>
            <a:r>
              <a:rPr lang="fr-FR" noProof="0"/>
              <a:t>, </a:t>
            </a:r>
            <a:r>
              <a:rPr lang="fr-FR" noProof="0" err="1"/>
              <a:t>text</a:t>
            </a:r>
            <a:r>
              <a:rPr lang="fr-FR" noProof="0"/>
              <a:t> </a:t>
            </a:r>
            <a:r>
              <a:rPr lang="en-US" noProof="0"/>
              <a:t>level</a:t>
            </a:r>
            <a:r>
              <a:rPr lang="fr-FR" noProof="0"/>
              <a:t>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75027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4.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8020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4.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04929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0880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34607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45872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16234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05601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t>
            </a:r>
            <a:r>
              <a:rPr lang="en-US" noProof="0" dirty="0" err="1"/>
              <a:t>amet</a:t>
            </a:r>
            <a:endParaRPr lang="en-US" noProof="0" dirty="0"/>
          </a:p>
          <a:p>
            <a:pPr lvl="1"/>
            <a:r>
              <a:rPr lang="en-US" noProof="0"/>
              <a:t>Second </a:t>
            </a:r>
            <a:r>
              <a:rPr lang="en-US" noProof="0" dirty="0"/>
              <a:t>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6843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10769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Titre 3">
            <a:extLst>
              <a:ext uri="{FF2B5EF4-FFF2-40B4-BE49-F238E27FC236}">
                <a16:creationId xmlns:a16="http://schemas.microsoft.com/office/drawing/2014/main" id="{FCE24A74-C0D5-4C66-9D11-7BFD8F8C8F3E}"/>
              </a:ext>
            </a:extLst>
          </p:cNvPr>
          <p:cNvSpPr>
            <a:spLocks noGrp="1"/>
          </p:cNvSpPr>
          <p:nvPr>
            <p:ph type="title" hasCustomPrompt="1"/>
          </p:nvPr>
        </p:nvSpPr>
        <p:spPr>
          <a:xfrm>
            <a:off x="443280" y="489839"/>
            <a:ext cx="10515600" cy="346249"/>
          </a:xfrm>
        </p:spPr>
        <p:txBody>
          <a:bodyPr/>
          <a:lstStyle/>
          <a:p>
            <a:r>
              <a:rPr lang="en-US" noProof="0"/>
              <a:t>Title, text level 1</a:t>
            </a:r>
          </a:p>
        </p:txBody>
      </p:sp>
    </p:spTree>
    <p:extLst>
      <p:ext uri="{BB962C8B-B14F-4D97-AF65-F5344CB8AC3E}">
        <p14:creationId xmlns:p14="http://schemas.microsoft.com/office/powerpoint/2010/main" val="31726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48216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36792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08725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dirty="0" err="1"/>
              <a:t>Title</a:t>
            </a:r>
            <a:r>
              <a:rPr lang="fr-FR" noProof="0" dirty="0"/>
              <a:t>, </a:t>
            </a:r>
            <a:r>
              <a:rPr lang="fr-FR" noProof="0" err="1"/>
              <a:t>text</a:t>
            </a:r>
            <a:r>
              <a:rPr lang="fr-FR" noProof="0"/>
              <a:t> </a:t>
            </a:r>
            <a:r>
              <a:rPr lang="en-US" noProof="0"/>
              <a:t>level</a:t>
            </a:r>
            <a:r>
              <a:rPr lang="fr-FR" noProof="0"/>
              <a:t> </a:t>
            </a:r>
            <a:r>
              <a:rPr lang="fr-FR" noProof="0" dirty="0"/>
              <a:t>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81562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82403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94077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525346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334066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34345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82829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85405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2910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79483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91294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en-US" noProof="0"/>
              <a:t>Lorem</a:t>
            </a:r>
            <a:r>
              <a:rPr lang="fr-FR"/>
              <a:t> </a:t>
            </a:r>
            <a:r>
              <a:rPr lang="fr-FR" dirty="0"/>
              <a:t>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a:t>
            </a:r>
            <a:r>
              <a:rPr lang="en-US" noProof="0"/>
              <a:t>ipsum</a:t>
            </a:r>
            <a:r>
              <a:rPr lang="fr-FR"/>
              <a:t> </a:t>
            </a:r>
            <a:r>
              <a:rPr lang="fr-FR" dirty="0"/>
              <a:t>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a:t>
            </a:r>
            <a:r>
              <a:rPr lang="fr-FR" noProof="0"/>
              <a:t>ipsum</a:t>
            </a:r>
            <a:r>
              <a:rPr lang="fr-FR" dirty="0"/>
              <a:t>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a:t>, </a:t>
            </a:r>
            <a:r>
              <a:rPr lang="en-US" noProof="0"/>
              <a:t>text</a:t>
            </a:r>
            <a:r>
              <a:rPr lang="fr-FR"/>
              <a:t> </a:t>
            </a:r>
            <a:r>
              <a:rPr lang="fr-FR" dirty="0" err="1"/>
              <a:t>level</a:t>
            </a:r>
            <a:r>
              <a:rPr lang="fr-FR" dirty="0"/>
              <a:t> 1</a:t>
            </a:r>
          </a:p>
        </p:txBody>
      </p:sp>
    </p:spTree>
    <p:extLst>
      <p:ext uri="{BB962C8B-B14F-4D97-AF65-F5344CB8AC3E}">
        <p14:creationId xmlns:p14="http://schemas.microsoft.com/office/powerpoint/2010/main" val="323142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94522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9943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94507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39422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2576293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6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4163638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dirty="0"/>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4.  All rights Reserved</a:t>
            </a:r>
            <a:endParaRPr lang="en-US" dirty="0"/>
          </a:p>
        </p:txBody>
      </p:sp>
    </p:spTree>
    <p:extLst>
      <p:ext uri="{BB962C8B-B14F-4D97-AF65-F5344CB8AC3E}">
        <p14:creationId xmlns:p14="http://schemas.microsoft.com/office/powerpoint/2010/main" val="36756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93982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391463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r>
              <a:rPr lang="en-US"/>
              <a:t>Click icon to add picture</a:t>
            </a:r>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solidFill>
            <a:schemeClr val="bg1"/>
          </a:solidFill>
        </p:spPr>
        <p:txBody>
          <a:bodyPr lIns="396000" tIns="432000" rIns="72000">
            <a:noAutofit/>
          </a:bodyPr>
          <a:lstStyle>
            <a:lvl1pPr>
              <a:defRPr sz="3500" b="1">
                <a:solidFill>
                  <a:schemeClr val="tx2"/>
                </a:solidFill>
              </a:defRPr>
            </a:lvl1pPr>
            <a:lvl2pPr marL="0" indent="0">
              <a:buNone/>
              <a:defRPr sz="1500" b="0">
                <a:solidFill>
                  <a:schemeClr val="tx2"/>
                </a:solidFill>
              </a:defRPr>
            </a:lvl2pPr>
          </a:lstStyle>
          <a:p>
            <a:pPr lvl="0"/>
            <a:r>
              <a:rPr lang="fr-FR" err="1"/>
              <a:t>Sodexo’s</a:t>
            </a:r>
            <a:r>
              <a:rPr lang="fr-FR"/>
              <a:t> PPT</a:t>
            </a:r>
          </a:p>
          <a:p>
            <a:pPr lvl="0"/>
            <a:r>
              <a:rPr lang="fr-FR" err="1"/>
              <a:t>template</a:t>
            </a:r>
            <a:endParaRPr lang="fr-FR"/>
          </a:p>
          <a:p>
            <a:pPr lvl="1"/>
            <a:endParaRPr lang="fr-FR"/>
          </a:p>
          <a:p>
            <a:pPr lvl="1"/>
            <a:r>
              <a:rPr lang="fr-FR"/>
              <a:t>Day </a:t>
            </a:r>
            <a:r>
              <a:rPr lang="fr-FR" err="1"/>
              <a:t>Month</a:t>
            </a:r>
            <a:r>
              <a:rPr lang="fr-FR"/>
              <a:t> 2021</a:t>
            </a:r>
          </a:p>
        </p:txBody>
      </p:sp>
      <p:sp>
        <p:nvSpPr>
          <p:cNvPr id="35" name="Espace réservé du texte 34">
            <a:extLst>
              <a:ext uri="{FF2B5EF4-FFF2-40B4-BE49-F238E27FC236}">
                <a16:creationId xmlns:a16="http://schemas.microsoft.com/office/drawing/2014/main" id="{D3BF91EA-9A1F-43DF-857F-633EDAE0C7E8}"/>
              </a:ext>
            </a:extLst>
          </p:cNvPr>
          <p:cNvSpPr>
            <a:spLocks noGrp="1" noChangeAspect="1"/>
          </p:cNvSpPr>
          <p:nvPr>
            <p:ph type="body" sz="quarter" idx="62"/>
          </p:nvPr>
        </p:nvSpPr>
        <p:spPr>
          <a:xfrm>
            <a:off x="3225984" y="2957667"/>
            <a:ext cx="1171993" cy="378332"/>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39" name="Espace réservé du texte 38">
            <a:extLst>
              <a:ext uri="{FF2B5EF4-FFF2-40B4-BE49-F238E27FC236}">
                <a16:creationId xmlns:a16="http://schemas.microsoft.com/office/drawing/2014/main" id="{94FAF554-4FF1-48E9-8A49-094194D559C9}"/>
              </a:ext>
            </a:extLst>
          </p:cNvPr>
          <p:cNvSpPr>
            <a:spLocks noGrp="1" noChangeAspect="1"/>
          </p:cNvSpPr>
          <p:nvPr>
            <p:ph type="body" sz="quarter" idx="63"/>
          </p:nvPr>
        </p:nvSpPr>
        <p:spPr>
          <a:xfrm>
            <a:off x="3985099" y="3107484"/>
            <a:ext cx="235207" cy="203232"/>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34022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917DE0E-AFB1-41FD-BC35-27DB61CA125F}" type="slidenum">
              <a:rPr lang="en-AU" smtClean="0"/>
              <a:pPr/>
              <a:t>‹#›</a:t>
            </a:fld>
            <a:endParaRPr lang="en-AU"/>
          </a:p>
        </p:txBody>
      </p:sp>
      <p:sp>
        <p:nvSpPr>
          <p:cNvPr id="5" name="Footer Placeholder 4"/>
          <p:cNvSpPr>
            <a:spLocks noGrp="1"/>
          </p:cNvSpPr>
          <p:nvPr>
            <p:ph type="ftr" sz="quarter" idx="11"/>
          </p:nvPr>
        </p:nvSpPr>
        <p:spPr/>
        <p:txBody>
          <a:bodyPr/>
          <a:lstStyle/>
          <a:p>
            <a:r>
              <a:rPr lang="en-US"/>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r>
              <a:rPr lang="fr-FR"/>
              <a:t> </a:t>
            </a:r>
            <a:br>
              <a:rPr lang="fr-FR"/>
            </a:br>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Tree>
    <p:extLst>
      <p:ext uri="{BB962C8B-B14F-4D97-AF65-F5344CB8AC3E}">
        <p14:creationId xmlns:p14="http://schemas.microsoft.com/office/powerpoint/2010/main" val="218746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E7BA634-EC81-45D3-A0AA-D68275D57388}"/>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481AB69-359A-43A6-B547-D0397CE57A29}"/>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B923D56D-1BD6-497E-AC1B-A5CC62B40AA0}"/>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5DB8FA6-B5F8-4567-A60C-40A07D8A9B59}"/>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6A439B6E-2745-4D39-8CDF-F8AE80A157F9}"/>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DEF8BACB-E580-4F6A-B133-397A1811E132}"/>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839AF3D6-AD8B-4714-9B8B-330C241C94E1}"/>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BCA5ECB5-18E8-4B27-AACA-ED4BBFB20F9A}"/>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C600E9F0-156A-4037-A17D-625443EC650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4298AEAB-605C-470C-B37C-9A5ECEA2E9BD}"/>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A5AD173E-4A57-4892-BDD6-BE229E6FC520}"/>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a:t>Lorem ipsum </a:t>
            </a:r>
            <a:r>
              <a:rPr lang="fr-FR" err="1"/>
              <a:t>dolor</a:t>
            </a:r>
            <a:br>
              <a:rPr lang="fr-FR"/>
            </a:br>
            <a:r>
              <a:rPr lang="fr-FR" err="1"/>
              <a:t>sit</a:t>
            </a:r>
            <a:r>
              <a:rPr lang="fr-FR"/>
              <a:t> </a:t>
            </a:r>
            <a:r>
              <a:rPr lang="fr-FR" err="1"/>
              <a:t>amet</a:t>
            </a:r>
            <a:endParaRPr lang="fr-FR"/>
          </a:p>
          <a:p>
            <a:pPr lvl="1"/>
            <a:r>
              <a:rPr lang="fr-FR"/>
              <a:t>00</a:t>
            </a: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15680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a:t>Lorem ipsum </a:t>
            </a:r>
            <a:r>
              <a:rPr lang="fr-FR" err="1"/>
              <a:t>dolor</a:t>
            </a:r>
            <a:br>
              <a:rPr lang="fr-FR"/>
            </a:br>
            <a:r>
              <a:rPr lang="fr-FR" err="1"/>
              <a:t>sit</a:t>
            </a:r>
            <a:r>
              <a:rPr lang="fr-FR"/>
              <a:t> </a:t>
            </a:r>
            <a:r>
              <a:rPr lang="fr-FR" err="1"/>
              <a:t>amet</a:t>
            </a:r>
            <a:endParaRPr lang="fr-FR"/>
          </a:p>
          <a:p>
            <a:pPr lvl="1"/>
            <a:r>
              <a:rPr lang="fr-FR"/>
              <a:t>00</a:t>
            </a: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23100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a:t>Lorem ipsum </a:t>
            </a:r>
            <a:r>
              <a:rPr lang="fr-FR" err="1"/>
              <a:t>dolor</a:t>
            </a:r>
            <a:br>
              <a:rPr lang="fr-FR"/>
            </a:br>
            <a:r>
              <a:rPr lang="fr-FR" err="1"/>
              <a:t>sit</a:t>
            </a:r>
            <a:r>
              <a:rPr lang="fr-FR"/>
              <a:t> </a:t>
            </a:r>
            <a:r>
              <a:rPr lang="fr-FR" err="1"/>
              <a:t>amet</a:t>
            </a:r>
            <a:endParaRPr lang="fr-FR"/>
          </a:p>
          <a:p>
            <a:pPr lvl="1"/>
            <a:r>
              <a:rPr lang="fr-FR"/>
              <a:t>00</a:t>
            </a: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83629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400" b="1">
                <a:solidFill>
                  <a:schemeClr val="bg1"/>
                </a:solidFill>
              </a:defRPr>
            </a:lvl1pPr>
          </a:lstStyle>
          <a:p>
            <a:pPr lvl="0"/>
            <a:r>
              <a:rPr lang="fr-FR" err="1"/>
              <a:t>Subtitle</a:t>
            </a:r>
            <a:r>
              <a:rPr lang="fr-FR"/>
              <a:t> </a:t>
            </a:r>
            <a:r>
              <a:rPr lang="fr-FR" err="1"/>
              <a:t>lorem</a:t>
            </a:r>
            <a:r>
              <a:rPr lang="fr-FR"/>
              <a:t> ipsum </a:t>
            </a:r>
            <a:r>
              <a:rPr lang="fr-FR" err="1"/>
              <a:t>subtitle</a:t>
            </a:r>
            <a:r>
              <a:rPr lang="fr-FR"/>
              <a:t> </a:t>
            </a:r>
            <a:r>
              <a:rPr lang="fr-FR" err="1"/>
              <a:t>lorem</a:t>
            </a:r>
            <a:endParaRPr lang="fr-FR"/>
          </a:p>
          <a:p>
            <a:pPr lvl="0"/>
            <a:r>
              <a:rPr lang="fr-FR"/>
              <a:t>ipsum </a:t>
            </a:r>
            <a:r>
              <a:rPr lang="fr-FR" err="1"/>
              <a:t>subtitle</a:t>
            </a:r>
            <a:r>
              <a:rPr lang="fr-FR"/>
              <a:t> </a:t>
            </a:r>
            <a:r>
              <a:rPr lang="fr-FR" err="1"/>
              <a:t>lorem</a:t>
            </a:r>
            <a:r>
              <a:rPr lang="fr-FR"/>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15444"/>
          </a:xfrm>
        </p:spPr>
        <p:txBody>
          <a:bodyPr/>
          <a:lstStyle>
            <a:lvl1pPr algn="ctr">
              <a:defRPr sz="1400" b="1"/>
            </a:lvl1pPr>
            <a:lvl2pPr marL="0" indent="0">
              <a:buNone/>
              <a:defRPr/>
            </a:lvl2pPr>
            <a:lvl3pPr marL="0" indent="0">
              <a:buNone/>
              <a:defRPr sz="1600" b="1"/>
            </a:lvl3pPr>
          </a:lstStyle>
          <a:p>
            <a:pPr lvl="0"/>
            <a:r>
              <a:rPr lang="fr-FR" err="1"/>
              <a:t>Subtitle</a:t>
            </a:r>
            <a:r>
              <a:rPr lang="fr-FR"/>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r>
              <a:rPr lang="en-US"/>
              <a:t>Click icon to add chart</a:t>
            </a:r>
            <a:endParaRPr lang="fr-F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15444"/>
          </a:xfrm>
        </p:spPr>
        <p:txBody>
          <a:bodyPr/>
          <a:lstStyle>
            <a:lvl1pPr algn="ctr">
              <a:defRPr sz="14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r>
              <a:rPr lang="en-US"/>
              <a:t>Click icon to add chart</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81607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r>
              <a:rPr lang="en-US"/>
              <a:t>Click icon to add chart</a:t>
            </a:r>
            <a:endParaRPr lang="fr-F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15444"/>
          </a:xfrm>
        </p:spPr>
        <p:txBody>
          <a:bodyPr/>
          <a:lstStyle>
            <a:lvl1pPr algn="ctr">
              <a:defRPr sz="1400" b="1"/>
            </a:lvl1pPr>
            <a:lvl2pPr marL="0" indent="0">
              <a:buNone/>
              <a:defRPr/>
            </a:lvl2pPr>
            <a:lvl3pPr marL="0" indent="0">
              <a:buNone/>
              <a:defRPr sz="1600" b="1"/>
            </a:lvl3pPr>
          </a:lstStyle>
          <a:p>
            <a:pPr lvl="0"/>
            <a:r>
              <a:rPr lang="fr-FR" err="1"/>
              <a:t>Subtitle</a:t>
            </a:r>
            <a:r>
              <a:rPr lang="fr-FR"/>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r>
              <a:rPr lang="en-US"/>
              <a:t>Click icon to add chart</a:t>
            </a:r>
            <a:endParaRPr lang="fr-F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15444"/>
          </a:xfrm>
        </p:spPr>
        <p:txBody>
          <a:bodyPr/>
          <a:lstStyle>
            <a:lvl1pPr algn="ctr">
              <a:defRPr sz="14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r>
              <a:rPr lang="en-US"/>
              <a:t>Click icon to add chart</a:t>
            </a:r>
            <a:endParaRPr lang="fr-F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15444"/>
          </a:xfrm>
        </p:spPr>
        <p:txBody>
          <a:bodyPr/>
          <a:lstStyle>
            <a:lvl1pPr algn="ctr">
              <a:defRPr sz="1400" b="1"/>
            </a:lvl1pPr>
            <a:lvl2pPr marL="0" indent="0">
              <a:buNone/>
              <a:defRPr/>
            </a:lvl2pPr>
            <a:lvl3pPr marL="0" indent="0">
              <a:buNone/>
              <a:defRPr sz="1600" b="1"/>
            </a:lvl3pPr>
          </a:lstStyle>
          <a:p>
            <a:pPr lvl="0"/>
            <a:r>
              <a:rPr lang="fr-FR" err="1"/>
              <a:t>Subtitle</a:t>
            </a:r>
            <a:r>
              <a:rPr lang="fr-FR"/>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16131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r>
              <a:rPr lang="en-US"/>
              <a:t>Click icon to add chart</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08951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r>
              <a:rPr lang="en-US"/>
              <a:t>Click icon to add chart</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81715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Tree>
    <p:extLst>
      <p:ext uri="{BB962C8B-B14F-4D97-AF65-F5344CB8AC3E}">
        <p14:creationId xmlns:p14="http://schemas.microsoft.com/office/powerpoint/2010/main" val="213201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r>
              <a:rPr lang="en-US"/>
              <a:t>Click icon to add chart</a:t>
            </a:r>
            <a:endParaRPr lang="fr-FR"/>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r>
              <a:rPr lang="en-US"/>
              <a:t>Click icon to add chart</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93212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2_//Ta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r>
              <a:rPr lang="en-US"/>
              <a:t>Click icon to add tab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55427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r>
              <a:rPr lang="en-US"/>
              <a:t>Click icon to add picture</a:t>
            </a:r>
            <a:endParaRPr lang="fr-FR"/>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r>
              <a:rPr lang="en-US"/>
              <a:t>Click icon to add picture</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46160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3 Bloc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20" name="Forme libre : forme 19">
            <a:extLst>
              <a:ext uri="{FF2B5EF4-FFF2-40B4-BE49-F238E27FC236}">
                <a16:creationId xmlns:a16="http://schemas.microsoft.com/office/drawing/2014/main" id="{3331F13B-0A4F-42FA-A22A-05FC2CFDFC33}"/>
              </a:ext>
            </a:extLst>
          </p:cNvPr>
          <p:cNvSpPr/>
          <p:nvPr/>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13" name="Forme libre : forme 12">
            <a:extLst>
              <a:ext uri="{FF2B5EF4-FFF2-40B4-BE49-F238E27FC236}">
                <a16:creationId xmlns:a16="http://schemas.microsoft.com/office/drawing/2014/main" id="{A7C266A7-59DA-4595-9AB4-DE6BBD9B4F30}"/>
              </a:ext>
            </a:extLst>
          </p:cNvPr>
          <p:cNvSpPr/>
          <p:nvPr/>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1</a:t>
            </a:r>
          </a:p>
          <a:p>
            <a:pPr lvl="1"/>
            <a:r>
              <a:rPr lang="fr-FR"/>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78693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3 Blocs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03769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56219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17118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379731"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379306"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378882"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378458"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379731"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379306"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378882"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378458"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80995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836530"/>
            <a:ext cx="11269662" cy="1184940"/>
          </a:xfrm>
          <a:noFill/>
        </p:spPr>
        <p:txBody>
          <a:bodyPr anchor="t"/>
          <a:lstStyle>
            <a:lvl1pPr>
              <a:defRPr sz="1400">
                <a:solidFill>
                  <a:srgbClr val="2A295C"/>
                </a:solidFill>
              </a:defRPr>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35531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215717"/>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184940"/>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53452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532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96572"/>
            <a:ext cx="11269663" cy="1620957"/>
          </a:xfrm>
          <a:noFill/>
        </p:spPr>
        <p:txBody>
          <a:bodyPr anchor="t"/>
          <a:lstStyle>
            <a:lvl1pPr>
              <a:defRPr sz="1400">
                <a:solidFill>
                  <a:srgbClr val="2A295C"/>
                </a:solidFill>
              </a:defRPr>
            </a:lvl1pPr>
            <a:lvl2pPr>
              <a:spcBef>
                <a:spcPts val="1800"/>
              </a:spcBef>
              <a:defRPr sz="1400"/>
            </a:lvl2pPr>
            <a:lvl3pPr>
              <a:spcBef>
                <a:spcPts val="600"/>
              </a:spcBef>
              <a:defRPr sz="1400"/>
            </a:lvl3pPr>
            <a:lvl4pPr>
              <a:spcBef>
                <a:spcPts val="1000"/>
              </a:spcBef>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54663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5"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3"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2"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5"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3"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2"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09009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2"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0"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7"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592549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194560"/>
            <a:ext cx="1628136" cy="492443"/>
          </a:xfrm>
        </p:spPr>
        <p:txBody>
          <a:bodyPr anchor="b">
            <a:spAutoFit/>
          </a:bodyPr>
          <a:lstStyle>
            <a:lvl1pPr algn="ctr">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74579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400" b="1">
                <a:solidFill>
                  <a:schemeClr val="tx2"/>
                </a:solidFill>
              </a:defRPr>
            </a:lvl1pPr>
          </a:lstStyle>
          <a:p>
            <a:pPr lvl="0"/>
            <a:r>
              <a:rPr lang="fr-FR"/>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4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400" b="1">
                <a:solidFill>
                  <a:schemeClr val="bg1"/>
                </a:solidFill>
              </a:defRPr>
            </a:lvl1pPr>
          </a:lstStyle>
          <a:p>
            <a:pPr lvl="0"/>
            <a:r>
              <a:rPr lang="fr-FR"/>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400" b="1">
                <a:solidFill>
                  <a:schemeClr val="bg1"/>
                </a:solidFill>
              </a:defRPr>
            </a:lvl1pPr>
          </a:lstStyle>
          <a:p>
            <a:pPr lvl="0"/>
            <a:r>
              <a:rPr lang="fr-FR"/>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400" b="1">
                <a:solidFill>
                  <a:schemeClr val="bg1"/>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71873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Tree>
    <p:extLst>
      <p:ext uri="{BB962C8B-B14F-4D97-AF65-F5344CB8AC3E}">
        <p14:creationId xmlns:p14="http://schemas.microsoft.com/office/powerpoint/2010/main" val="293450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spTree>
    <p:extLst>
      <p:ext uri="{BB962C8B-B14F-4D97-AF65-F5344CB8AC3E}">
        <p14:creationId xmlns:p14="http://schemas.microsoft.com/office/powerpoint/2010/main" val="12159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Contact">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Tree>
    <p:extLst>
      <p:ext uri="{BB962C8B-B14F-4D97-AF65-F5344CB8AC3E}">
        <p14:creationId xmlns:p14="http://schemas.microsoft.com/office/powerpoint/2010/main" val="290565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a:t>Texte</a:t>
            </a:r>
          </a:p>
        </p:txBody>
      </p:sp>
    </p:spTree>
    <p:extLst>
      <p:ext uri="{BB962C8B-B14F-4D97-AF65-F5344CB8AC3E}">
        <p14:creationId xmlns:p14="http://schemas.microsoft.com/office/powerpoint/2010/main" val="371817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54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dirty="0"/>
              <a:t>Click icon to add picture</a:t>
            </a:r>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dirty="0"/>
              <a:t>Click icon to add picture</a:t>
            </a:r>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06598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64816"/>
            <a:ext cx="10515600" cy="4701034"/>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Title 1"/>
          <p:cNvSpPr>
            <a:spLocks noGrp="1"/>
          </p:cNvSpPr>
          <p:nvPr>
            <p:ph type="title"/>
          </p:nvPr>
        </p:nvSpPr>
        <p:spPr>
          <a:xfrm>
            <a:off x="8388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fr-FR"/>
              <a:t>Modifiez le style du titre</a:t>
            </a:r>
            <a:endParaRPr lang="en-GB"/>
          </a:p>
        </p:txBody>
      </p:sp>
      <p:sp>
        <p:nvSpPr>
          <p:cNvPr id="4" name="Slide Number Placeholder 3"/>
          <p:cNvSpPr>
            <a:spLocks noGrp="1"/>
          </p:cNvSpPr>
          <p:nvPr>
            <p:ph type="sldNum" sz="quarter" idx="11"/>
          </p:nvPr>
        </p:nvSpPr>
        <p:spPr/>
        <p:txBody>
          <a:bodyPr>
            <a:noAutofit/>
          </a:bodyPr>
          <a:lstStyle/>
          <a:p>
            <a:fld id="{8D106B86-2C1D-4C37-AAEC-BECB664F03FD}" type="slidenum">
              <a:rPr lang="en-GB" smtClean="0"/>
              <a:pPr/>
              <a:t>‹#›</a:t>
            </a:fld>
            <a:endParaRPr lang="en-GB"/>
          </a:p>
        </p:txBody>
      </p:sp>
      <p:sp>
        <p:nvSpPr>
          <p:cNvPr id="8" name="Espace réservé du pied de page 3">
            <a:extLst>
              <a:ext uri="{FF2B5EF4-FFF2-40B4-BE49-F238E27FC236}">
                <a16:creationId xmlns:a16="http://schemas.microsoft.com/office/drawing/2014/main" id="{12E41535-EC3E-4DD6-A82A-1B4EBFA1BE0F}"/>
              </a:ext>
            </a:extLst>
          </p:cNvPr>
          <p:cNvSpPr>
            <a:spLocks noGrp="1"/>
          </p:cNvSpPr>
          <p:nvPr>
            <p:ph type="ftr" sz="quarter" idx="10"/>
          </p:nvPr>
        </p:nvSpPr>
        <p:spPr>
          <a:xfrm>
            <a:off x="8946014" y="6489000"/>
            <a:ext cx="2417618" cy="232475"/>
          </a:xfrm>
        </p:spPr>
        <p:txBody>
          <a:bodyPr/>
          <a:lstStyle/>
          <a:p>
            <a:r>
              <a:rPr lang="en-US"/>
              <a:t>Unit Controller Call Series © Sodexo, July 2024.  All rights Reserved</a:t>
            </a:r>
            <a:endParaRPr lang="en-GB"/>
          </a:p>
        </p:txBody>
      </p:sp>
    </p:spTree>
    <p:extLst>
      <p:ext uri="{BB962C8B-B14F-4D97-AF65-F5344CB8AC3E}">
        <p14:creationId xmlns:p14="http://schemas.microsoft.com/office/powerpoint/2010/main" val="221569640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3_Title Slide Korn Ferry Group">
    <p:spTree>
      <p:nvGrpSpPr>
        <p:cNvPr id="1" name=""/>
        <p:cNvGrpSpPr/>
        <p:nvPr/>
      </p:nvGrpSpPr>
      <p:grpSpPr>
        <a:xfrm>
          <a:off x="0" y="0"/>
          <a:ext cx="0" cy="0"/>
          <a:chOff x="0" y="0"/>
          <a:chExt cx="0" cy="0"/>
        </a:xfrm>
      </p:grpSpPr>
      <p:pic>
        <p:nvPicPr>
          <p:cNvPr id="4" name="Image 3" descr="Une image contenant store, bâtiment&#10;&#10;Description générée automatiquement">
            <a:extLst>
              <a:ext uri="{FF2B5EF4-FFF2-40B4-BE49-F238E27FC236}">
                <a16:creationId xmlns:a16="http://schemas.microsoft.com/office/drawing/2014/main" id="{164E1287-9360-49A6-BF0A-359D1F6F23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64" y="-23813"/>
            <a:ext cx="12194764" cy="6858000"/>
          </a:xfrm>
          <a:prstGeom prst="rect">
            <a:avLst/>
          </a:prstGeom>
        </p:spPr>
      </p:pic>
      <p:grpSp>
        <p:nvGrpSpPr>
          <p:cNvPr id="7" name="Group 6"/>
          <p:cNvGrpSpPr/>
          <p:nvPr userDrawn="1"/>
        </p:nvGrpSpPr>
        <p:grpSpPr>
          <a:xfrm>
            <a:off x="-1382" y="0"/>
            <a:ext cx="5913059" cy="6884988"/>
            <a:chOff x="-1382" y="0"/>
            <a:chExt cx="5913059" cy="6884988"/>
          </a:xfrm>
        </p:grpSpPr>
        <p:grpSp>
          <p:nvGrpSpPr>
            <p:cNvPr id="6" name="Group 5"/>
            <p:cNvGrpSpPr/>
            <p:nvPr userDrawn="1"/>
          </p:nvGrpSpPr>
          <p:grpSpPr>
            <a:xfrm>
              <a:off x="0" y="0"/>
              <a:ext cx="5911677" cy="6884988"/>
              <a:chOff x="0" y="0"/>
              <a:chExt cx="5911677" cy="6884988"/>
            </a:xfrm>
          </p:grpSpPr>
          <p:sp>
            <p:nvSpPr>
              <p:cNvPr id="5" name="Freeform 5"/>
              <p:cNvSpPr>
                <a:spLocks noChangeAspect="1"/>
              </p:cNvSpPr>
              <p:nvPr userDrawn="1"/>
            </p:nvSpPr>
            <p:spPr bwMode="auto">
              <a:xfrm>
                <a:off x="0"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634F">
                  <a:alpha val="55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4871864" y="0"/>
                <a:ext cx="1039813" cy="6884988"/>
              </a:xfrm>
              <a:custGeom>
                <a:avLst/>
                <a:gdLst>
                  <a:gd name="T0" fmla="*/ 459 w 655"/>
                  <a:gd name="T1" fmla="*/ 0 h 4337"/>
                  <a:gd name="T2" fmla="*/ 0 w 655"/>
                  <a:gd name="T3" fmla="*/ 4337 h 4337"/>
                  <a:gd name="T4" fmla="*/ 194 w 655"/>
                  <a:gd name="T5" fmla="*/ 4337 h 4337"/>
                  <a:gd name="T6" fmla="*/ 655 w 655"/>
                  <a:gd name="T7" fmla="*/ 0 h 4337"/>
                  <a:gd name="T8" fmla="*/ 459 w 655"/>
                  <a:gd name="T9" fmla="*/ 0 h 4337"/>
                </a:gdLst>
                <a:ahLst/>
                <a:cxnLst>
                  <a:cxn ang="0">
                    <a:pos x="T0" y="T1"/>
                  </a:cxn>
                  <a:cxn ang="0">
                    <a:pos x="T2" y="T3"/>
                  </a:cxn>
                  <a:cxn ang="0">
                    <a:pos x="T4" y="T5"/>
                  </a:cxn>
                  <a:cxn ang="0">
                    <a:pos x="T6" y="T7"/>
                  </a:cxn>
                  <a:cxn ang="0">
                    <a:pos x="T8" y="T9"/>
                  </a:cxn>
                </a:cxnLst>
                <a:rect l="0" t="0" r="r" b="b"/>
                <a:pathLst>
                  <a:path w="655" h="4337">
                    <a:moveTo>
                      <a:pt x="459" y="0"/>
                    </a:moveTo>
                    <a:lnTo>
                      <a:pt x="0" y="4337"/>
                    </a:lnTo>
                    <a:lnTo>
                      <a:pt x="194" y="4337"/>
                    </a:lnTo>
                    <a:lnTo>
                      <a:pt x="655" y="0"/>
                    </a:lnTo>
                    <a:lnTo>
                      <a:pt x="459" y="0"/>
                    </a:lnTo>
                    <a:close/>
                  </a:path>
                </a:pathLst>
              </a:custGeom>
              <a:solidFill>
                <a:srgbClr val="0070C0">
                  <a:alpha val="74000"/>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9" name="Freeform 5"/>
            <p:cNvSpPr>
              <a:spLocks noChangeAspect="1"/>
            </p:cNvSpPr>
            <p:nvPr userDrawn="1"/>
          </p:nvSpPr>
          <p:spPr bwMode="auto">
            <a:xfrm>
              <a:off x="-1382"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2060">
                <a:alpha val="27059"/>
              </a:srgbClr>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25" name="Picture 24">
            <a:extLst>
              <a:ext uri="{FF2B5EF4-FFF2-40B4-BE49-F238E27FC236}">
                <a16:creationId xmlns:a16="http://schemas.microsoft.com/office/drawing/2014/main" id="{729354A9-960B-4781-A86D-048E2100264F}"/>
              </a:ext>
            </a:extLst>
          </p:cNvPr>
          <p:cNvPicPr>
            <a:picLocks noChangeAspect="1"/>
          </p:cNvPicPr>
          <p:nvPr userDrawn="1"/>
        </p:nvPicPr>
        <p:blipFill rotWithShape="1">
          <a:blip r:embed="rId3"/>
          <a:srcRect/>
          <a:stretch/>
        </p:blipFill>
        <p:spPr>
          <a:xfrm>
            <a:off x="587009" y="6336000"/>
            <a:ext cx="505558" cy="444846"/>
          </a:xfrm>
          <a:prstGeom prst="rect">
            <a:avLst/>
          </a:prstGeom>
        </p:spPr>
      </p:pic>
      <p:sp>
        <p:nvSpPr>
          <p:cNvPr id="26" name="Title 1"/>
          <p:cNvSpPr>
            <a:spLocks noGrp="1"/>
          </p:cNvSpPr>
          <p:nvPr>
            <p:ph type="ctrTitle"/>
          </p:nvPr>
        </p:nvSpPr>
        <p:spPr>
          <a:xfrm>
            <a:off x="843157" y="914400"/>
            <a:ext cx="4352743" cy="2370584"/>
          </a:xfrm>
        </p:spPr>
        <p:txBody>
          <a:bodyPr anchor="b">
            <a:noAutofit/>
          </a:bodyPr>
          <a:lstStyle>
            <a:lvl1pPr algn="l">
              <a:lnSpc>
                <a:spcPct val="100000"/>
              </a:lnSpc>
              <a:defRPr sz="4600" b="1" cap="none"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27" name="Subtitle 2"/>
          <p:cNvSpPr>
            <a:spLocks noGrp="1"/>
          </p:cNvSpPr>
          <p:nvPr>
            <p:ph type="subTitle" idx="1"/>
          </p:nvPr>
        </p:nvSpPr>
        <p:spPr>
          <a:xfrm>
            <a:off x="843158" y="3525886"/>
            <a:ext cx="4352743" cy="1100114"/>
          </a:xfrm>
        </p:spPr>
        <p:txBody>
          <a:bodyPr>
            <a:noAutofit/>
          </a:bodyPr>
          <a:lstStyle>
            <a:lvl1pPr marL="0" indent="0" algn="l">
              <a:lnSpc>
                <a:spcPct val="100000"/>
              </a:lnSpc>
              <a:buNone/>
              <a:defRPr sz="2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2510533018"/>
      </p:ext>
    </p:extLst>
  </p:cSld>
  <p:clrMapOvr>
    <a:masterClrMapping/>
  </p:clrMapOvr>
  <p:extLst>
    <p:ext uri="{DCECCB84-F9BA-43D5-87BE-67443E8EF086}">
      <p15:sldGuideLst xmlns:p15="http://schemas.microsoft.com/office/powerpoint/2012/main">
        <p15:guide id="1" orient="horz" pos="2160">
          <p15:clr>
            <a:srgbClr val="FBAE40"/>
          </p15:clr>
        </p15:guide>
        <p15:guide id="2" pos="397">
          <p15:clr>
            <a:srgbClr val="FBAE40"/>
          </p15:clr>
        </p15:guide>
        <p15:guide id="3" pos="288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204864"/>
            <a:ext cx="10515600" cy="3960986"/>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
          <p:cNvSpPr>
            <a:spLocks noGrp="1"/>
          </p:cNvSpPr>
          <p:nvPr>
            <p:ph type="body" idx="13"/>
          </p:nvPr>
        </p:nvSpPr>
        <p:spPr>
          <a:xfrm>
            <a:off x="839788" y="1277402"/>
            <a:ext cx="10514012" cy="823912"/>
          </a:xfrm>
        </p:spPr>
        <p:txBody>
          <a:bodyPr anchor="b">
            <a:noAutofit/>
          </a:bodyPr>
          <a:lstStyle>
            <a:lvl1pPr marL="0" indent="0">
              <a:buNone/>
              <a:defRPr sz="2200" b="1">
                <a:solidFill>
                  <a:srgbClr val="28379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1"/>
          <p:cNvSpPr>
            <a:spLocks noGrp="1"/>
          </p:cNvSpPr>
          <p:nvPr>
            <p:ph type="title"/>
          </p:nvPr>
        </p:nvSpPr>
        <p:spPr>
          <a:xfrm>
            <a:off x="8382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2" name="Footer Placeholder 1"/>
          <p:cNvSpPr>
            <a:spLocks noGrp="1"/>
          </p:cNvSpPr>
          <p:nvPr>
            <p:ph type="ftr" sz="quarter" idx="14"/>
          </p:nvPr>
        </p:nvSpPr>
        <p:spPr/>
        <p:txBody>
          <a:bodyPr>
            <a:noAutofit/>
          </a:bodyPr>
          <a:lstStyle/>
          <a:p>
            <a:r>
              <a:rPr lang="en-US"/>
              <a:t>Unit Controller Call Series © Sodexo, July 2024.  All rights Reserved</a:t>
            </a:r>
            <a:endParaRPr lang="en-GB"/>
          </a:p>
        </p:txBody>
      </p:sp>
      <p:sp>
        <p:nvSpPr>
          <p:cNvPr id="4" name="Slide Number Placeholder 3"/>
          <p:cNvSpPr>
            <a:spLocks noGrp="1"/>
          </p:cNvSpPr>
          <p:nvPr>
            <p:ph type="sldNum" sz="quarter" idx="15"/>
          </p:nvPr>
        </p:nvSpPr>
        <p:spPr/>
        <p:txBody>
          <a:bodyPr>
            <a:noAutofit/>
          </a:bodyPr>
          <a:lstStyle/>
          <a:p>
            <a:fld id="{8D106B86-2C1D-4C37-AAEC-BECB664F03FD}" type="slidenum">
              <a:rPr lang="en-GB" smtClean="0"/>
              <a:pPr/>
              <a:t>‹#›</a:t>
            </a:fld>
            <a:endParaRPr lang="en-GB"/>
          </a:p>
        </p:txBody>
      </p:sp>
      <p:cxnSp>
        <p:nvCxnSpPr>
          <p:cNvPr id="11" name="Straight Connector 10"/>
          <p:cNvCxnSpPr/>
          <p:nvPr userDrawn="1"/>
        </p:nvCxnSpPr>
        <p:spPr>
          <a:xfrm flipH="1">
            <a:off x="591600" y="-27710"/>
            <a:ext cx="1588" cy="1116000"/>
          </a:xfrm>
          <a:prstGeom prst="line">
            <a:avLst/>
          </a:prstGeom>
          <a:ln w="38100">
            <a:solidFill>
              <a:srgbClr val="2837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99120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en-US" noProof="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4.  All rights Reserved</a:t>
            </a:r>
          </a:p>
        </p:txBody>
      </p:sp>
    </p:spTree>
    <p:extLst>
      <p:ext uri="{BB962C8B-B14F-4D97-AF65-F5344CB8AC3E}">
        <p14:creationId xmlns:p14="http://schemas.microsoft.com/office/powerpoint/2010/main" val="267544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4.  All rights Reserved</a:t>
            </a:r>
          </a:p>
        </p:txBody>
      </p:sp>
    </p:spTree>
    <p:extLst>
      <p:ext uri="{BB962C8B-B14F-4D97-AF65-F5344CB8AC3E}">
        <p14:creationId xmlns:p14="http://schemas.microsoft.com/office/powerpoint/2010/main" val="82592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269677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236350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4.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94563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4.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35955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353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06955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32521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75825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74960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32624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t>
            </a:r>
            <a:r>
              <a:rPr lang="en-US" noProof="0" err="1"/>
              <a:t>amet</a:t>
            </a:r>
            <a:endParaRPr lang="en-US" noProof="0"/>
          </a:p>
          <a:p>
            <a:pPr lvl="1"/>
            <a:r>
              <a:rPr lang="en-US" noProof="0"/>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81465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78213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Titre 3">
            <a:extLst>
              <a:ext uri="{FF2B5EF4-FFF2-40B4-BE49-F238E27FC236}">
                <a16:creationId xmlns:a16="http://schemas.microsoft.com/office/drawing/2014/main" id="{FCE24A74-C0D5-4C66-9D11-7BFD8F8C8F3E}"/>
              </a:ext>
            </a:extLst>
          </p:cNvPr>
          <p:cNvSpPr>
            <a:spLocks noGrp="1"/>
          </p:cNvSpPr>
          <p:nvPr>
            <p:ph type="title" hasCustomPrompt="1"/>
          </p:nvPr>
        </p:nvSpPr>
        <p:spPr>
          <a:xfrm>
            <a:off x="443280" y="489839"/>
            <a:ext cx="10515600" cy="346249"/>
          </a:xfrm>
        </p:spPr>
        <p:txBody>
          <a:bodyPr/>
          <a:lstStyle/>
          <a:p>
            <a:r>
              <a:rPr lang="en-US" noProof="0"/>
              <a:t>Title, text level 1</a:t>
            </a:r>
          </a:p>
        </p:txBody>
      </p:sp>
    </p:spTree>
    <p:extLst>
      <p:ext uri="{BB962C8B-B14F-4D97-AF65-F5344CB8AC3E}">
        <p14:creationId xmlns:p14="http://schemas.microsoft.com/office/powerpoint/2010/main" val="161848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17471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09200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err="1"/>
              <a:t>Title</a:t>
            </a:r>
            <a:r>
              <a:rPr lang="fr-FR" noProof="0"/>
              <a:t>, </a:t>
            </a:r>
            <a:r>
              <a:rPr lang="fr-FR" noProof="0" err="1"/>
              <a:t>text</a:t>
            </a:r>
            <a:r>
              <a:rPr lang="fr-FR" noProof="0"/>
              <a:t> </a:t>
            </a:r>
            <a:r>
              <a:rPr lang="en-US" noProof="0"/>
              <a:t>level</a:t>
            </a:r>
            <a:r>
              <a:rPr lang="fr-FR" noProof="0"/>
              <a:t>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18801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93326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18062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41719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72040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Tree>
    <p:extLst>
      <p:ext uri="{BB962C8B-B14F-4D97-AF65-F5344CB8AC3E}">
        <p14:creationId xmlns:p14="http://schemas.microsoft.com/office/powerpoint/2010/main" val="42893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70727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873032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94801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3419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22862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en-US" noProof="0"/>
              <a:t>Lorem</a:t>
            </a:r>
            <a:r>
              <a:rPr lang="fr-FR"/>
              <a:t>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a:t>
            </a:r>
            <a:r>
              <a:rPr lang="en-US" noProof="0"/>
              <a:t>ipsum</a:t>
            </a:r>
            <a:r>
              <a:rPr lang="fr-FR"/>
              <a:t>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a:t>
            </a:r>
            <a:r>
              <a:rPr lang="fr-FR" noProof="0"/>
              <a:t>ipsum</a:t>
            </a:r>
            <a:r>
              <a:rPr lang="fr-FR"/>
              <a:t>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en-US" noProof="0"/>
              <a:t>text</a:t>
            </a:r>
            <a:r>
              <a:rPr lang="fr-FR"/>
              <a:t> </a:t>
            </a:r>
            <a:r>
              <a:rPr lang="fr-FR" err="1"/>
              <a:t>level</a:t>
            </a:r>
            <a:r>
              <a:rPr lang="fr-FR"/>
              <a:t> 1</a:t>
            </a:r>
          </a:p>
        </p:txBody>
      </p:sp>
    </p:spTree>
    <p:extLst>
      <p:ext uri="{BB962C8B-B14F-4D97-AF65-F5344CB8AC3E}">
        <p14:creationId xmlns:p14="http://schemas.microsoft.com/office/powerpoint/2010/main" val="136031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62730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19548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1738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29444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44229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916945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823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326014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84796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4.  All rights Reserved</a:t>
            </a:r>
          </a:p>
        </p:txBody>
      </p:sp>
    </p:spTree>
    <p:extLst>
      <p:ext uri="{BB962C8B-B14F-4D97-AF65-F5344CB8AC3E}">
        <p14:creationId xmlns:p14="http://schemas.microsoft.com/office/powerpoint/2010/main" val="60378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4.  All rights Reserved</a:t>
            </a:r>
          </a:p>
        </p:txBody>
      </p:sp>
    </p:spTree>
    <p:extLst>
      <p:ext uri="{BB962C8B-B14F-4D97-AF65-F5344CB8AC3E}">
        <p14:creationId xmlns:p14="http://schemas.microsoft.com/office/powerpoint/2010/main" val="116885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en-US" noProof="0"/>
              <a:t>Lorem</a:t>
            </a:r>
            <a:r>
              <a:rPr lang="fr-FR"/>
              <a:t>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a:t>
            </a:r>
            <a:r>
              <a:rPr lang="en-US" noProof="0"/>
              <a:t>ipsum</a:t>
            </a:r>
            <a:r>
              <a:rPr lang="fr-FR"/>
              <a:t>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a:t>
            </a:r>
            <a:r>
              <a:rPr lang="fr-FR" noProof="0"/>
              <a:t>ipsum</a:t>
            </a:r>
            <a:r>
              <a:rPr lang="fr-FR"/>
              <a:t>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en-US" noProof="0"/>
              <a:t>text</a:t>
            </a:r>
            <a:r>
              <a:rPr lang="fr-FR"/>
              <a:t> </a:t>
            </a:r>
            <a:r>
              <a:rPr lang="fr-FR" err="1"/>
              <a:t>level</a:t>
            </a:r>
            <a:r>
              <a:rPr lang="fr-FR"/>
              <a:t> 1</a:t>
            </a:r>
          </a:p>
        </p:txBody>
      </p:sp>
    </p:spTree>
    <p:extLst>
      <p:ext uri="{BB962C8B-B14F-4D97-AF65-F5344CB8AC3E}">
        <p14:creationId xmlns:p14="http://schemas.microsoft.com/office/powerpoint/2010/main" val="279421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407075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3484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4.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9755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4.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403780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01402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758498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92281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7169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385222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fr-FR"/>
              <a:t>D</a:t>
            </a:r>
            <a:r>
              <a:rPr lang="en-US" noProof="0"/>
              <a:t>eux</a:t>
            </a:r>
            <a:r>
              <a:rPr lang="fr-FR"/>
              <a:t>ième </a:t>
            </a:r>
            <a:r>
              <a:rPr lang="fr-FR" dirty="0"/>
              <a:t>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a:t>
            </a:r>
            <a:r>
              <a:rPr lang="fr-FR" dirty="0"/>
              <a:t>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en-US" noProof="0"/>
              <a:t>Deuxième</a:t>
            </a:r>
            <a:r>
              <a:rPr lang="fr-FR"/>
              <a:t> </a:t>
            </a:r>
            <a:r>
              <a:rPr lang="fr-FR" dirty="0"/>
              <a:t>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a:t>
            </a:r>
            <a:r>
              <a:rPr lang="da-DK" dirty="0"/>
              <a:t>ipsum dolor sit amet</a:t>
            </a:r>
          </a:p>
          <a:p>
            <a:pPr lvl="1"/>
            <a:r>
              <a:rPr lang="en-US" noProof="0"/>
              <a:t>Deuxième</a:t>
            </a:r>
            <a:r>
              <a:rPr lang="fr-FR"/>
              <a:t> </a:t>
            </a:r>
            <a:r>
              <a:rPr lang="fr-FR" dirty="0"/>
              <a:t>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t>
            </a:r>
            <a:r>
              <a:rPr lang="da-DK" dirty="0"/>
              <a:t>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72163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26372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72557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dirty="0" err="1"/>
              <a:t>text</a:t>
            </a:r>
            <a:r>
              <a:rPr lang="fr-FR" dirty="0"/>
              <a:t> </a:t>
            </a:r>
            <a:r>
              <a:rPr lang="fr-FR" dirty="0" err="1"/>
              <a:t>level</a:t>
            </a:r>
            <a:r>
              <a:rPr lang="fr-FR" dirty="0"/>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77521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8357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69252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396535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7325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60826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6950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2506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44294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02963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87364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94013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18865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22106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5849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38238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43333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15064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76697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336992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dirty="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endParaRPr lang="en-US" noProof="0"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389666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2979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36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51440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55127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443280" y="489839"/>
            <a:ext cx="10515600" cy="56435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107292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1"/>
          <p:cNvSpPr>
            <a:spLocks noGrp="1"/>
          </p:cNvSpPr>
          <p:nvPr>
            <p:ph type="ftr" sz="quarter" idx="14"/>
          </p:nvPr>
        </p:nvSpPr>
        <p:spPr>
          <a:xfrm>
            <a:off x="931235" y="6410557"/>
            <a:ext cx="8160000" cy="138499"/>
          </a:xfrm>
          <a:prstGeom prst="rect">
            <a:avLst/>
          </a:prstGeom>
        </p:spPr>
        <p:txBody>
          <a:bodyPr/>
          <a:lstStyle>
            <a:lvl1pPr>
              <a:defRPr sz="1000"/>
            </a:lvl1p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ly 2024.  All rights Reserved</a:t>
            </a:r>
            <a:endParaRPr lang="en-US" dirty="0">
              <a:solidFill>
                <a:srgbClr val="000000"/>
              </a:solidFill>
            </a:endParaRPr>
          </a:p>
        </p:txBody>
      </p:sp>
      <p:sp>
        <p:nvSpPr>
          <p:cNvPr id="13" name="Espace réservé du numéro de diapositive 2"/>
          <p:cNvSpPr>
            <a:spLocks noGrp="1"/>
          </p:cNvSpPr>
          <p:nvPr>
            <p:ph type="sldNum" sz="quarter" idx="10"/>
          </p:nvPr>
        </p:nvSpPr>
        <p:spPr>
          <a:xfrm>
            <a:off x="580388" y="6427528"/>
            <a:ext cx="960000" cy="138499"/>
          </a:xfrm>
        </p:spPr>
        <p:txBody>
          <a:bodyPr/>
          <a:lstStyle>
            <a:lvl1pPr>
              <a:defRPr sz="1000"/>
            </a:lvl1p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Tree>
    <p:extLst>
      <p:ext uri="{BB962C8B-B14F-4D97-AF65-F5344CB8AC3E}">
        <p14:creationId xmlns:p14="http://schemas.microsoft.com/office/powerpoint/2010/main" val="23663889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3787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97583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345153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030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6396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214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73631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9731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143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1713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8932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453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6275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5440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3506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3951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3946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212883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8274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5166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46330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2345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9278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9775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92211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50685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97210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891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2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83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745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932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86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611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4" y="1"/>
            <a:ext cx="4256087" cy="438151"/>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33">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7"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5"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8"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2463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95408-3DB9-DF70-C247-2B8ADE35CFC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6702036-E131-C80E-E25F-8F59101C9F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13B7853-7394-1278-62D9-B71F9DA98F2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BA5B2CC-93E3-0688-D5C4-1D08A07DA0C5}"/>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6" name="Slide Number Placeholder 5">
            <a:extLst>
              <a:ext uri="{FF2B5EF4-FFF2-40B4-BE49-F238E27FC236}">
                <a16:creationId xmlns:a16="http://schemas.microsoft.com/office/drawing/2014/main" id="{FA487A11-51B2-78FB-2BBC-94534A1D07F9}"/>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373222945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E76F5-FFCE-5CC8-58EC-6026801BA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75BFB9-467E-0E1A-FCCA-23C68C5278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D400B8-7AA0-8EB1-B091-53CDD06EFB4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BCA253E-7CA0-727C-A3A4-B2585E81BFF6}"/>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6" name="Slide Number Placeholder 5">
            <a:extLst>
              <a:ext uri="{FF2B5EF4-FFF2-40B4-BE49-F238E27FC236}">
                <a16:creationId xmlns:a16="http://schemas.microsoft.com/office/drawing/2014/main" id="{CBD22F1A-2F75-C963-306C-A99BA5064D90}"/>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336453278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F9190-0251-1797-575E-6E1EA2EF3B9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2FC624F-C7E4-876F-0EB9-17BA8BE7C0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D6C715-345D-CA82-B36A-E039021152B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C3708B4-3731-637A-936B-01CC95ECFF2A}"/>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6" name="Slide Number Placeholder 5">
            <a:extLst>
              <a:ext uri="{FF2B5EF4-FFF2-40B4-BE49-F238E27FC236}">
                <a16:creationId xmlns:a16="http://schemas.microsoft.com/office/drawing/2014/main" id="{6FCE087D-C15D-040A-1BB0-8769948D94D5}"/>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193447843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F8C7A-185B-EA84-77BA-1F4D66A9F7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780936-E69D-E4D8-848D-B51C03D982B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9344E72-7942-670B-98C9-3D6325BE60E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7602FA-1C29-15C2-CD7A-51CE74221A9F}"/>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0100B65-178D-215B-57FB-C596E8FFE11E}"/>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7" name="Slide Number Placeholder 6">
            <a:extLst>
              <a:ext uri="{FF2B5EF4-FFF2-40B4-BE49-F238E27FC236}">
                <a16:creationId xmlns:a16="http://schemas.microsoft.com/office/drawing/2014/main" id="{16370FC6-2714-C778-8064-6D9871705B0B}"/>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21502750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dirty="0">
                <a:solidFill>
                  <a:schemeClr val="accent1"/>
                </a:solidFill>
                <a:latin typeface="+mn-lt"/>
                <a:ea typeface="+mn-ea"/>
                <a:cs typeface="+mn-cs"/>
              </a:rPr>
              <a:t>Title </a:t>
            </a:r>
            <a:br>
              <a:rPr lang="en-US" sz="1400" b="1" kern="1200" dirty="0">
                <a:solidFill>
                  <a:schemeClr val="accent1"/>
                </a:solidFill>
                <a:latin typeface="+mn-lt"/>
                <a:ea typeface="+mn-ea"/>
                <a:cs typeface="+mn-cs"/>
              </a:rPr>
            </a:br>
            <a:r>
              <a:rPr lang="en-US" sz="1400" b="1" kern="1200" dirty="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dirty="0">
                <a:solidFill>
                  <a:schemeClr val="tx2"/>
                </a:solidFill>
                <a:latin typeface="+mn-lt"/>
                <a:ea typeface="+mn-ea"/>
                <a:cs typeface="+mn-cs"/>
              </a:rPr>
              <a:t>Lorem ipsum dolor sit </a:t>
            </a:r>
            <a:r>
              <a:rPr lang="en-US" sz="1200" kern="1200" dirty="0" err="1">
                <a:solidFill>
                  <a:schemeClr val="tx2"/>
                </a:solidFill>
                <a:latin typeface="+mn-lt"/>
                <a:ea typeface="+mn-ea"/>
                <a:cs typeface="+mn-cs"/>
              </a:rPr>
              <a:t>amet</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consectetuer</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adipiscing</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elit</a:t>
            </a:r>
            <a:r>
              <a:rPr lang="en-US" sz="1200" kern="1200" dirty="0">
                <a:solidFill>
                  <a:schemeClr val="tx2"/>
                </a:solidFill>
                <a:latin typeface="+mn-lt"/>
                <a:ea typeface="+mn-ea"/>
                <a:cs typeface="+mn-cs"/>
              </a:rPr>
              <a:t>. Maecenas </a:t>
            </a:r>
            <a:r>
              <a:rPr lang="en-US" sz="1200" kern="1200" dirty="0" err="1">
                <a:solidFill>
                  <a:schemeClr val="tx2"/>
                </a:solidFill>
                <a:latin typeface="+mn-lt"/>
                <a:ea typeface="+mn-ea"/>
                <a:cs typeface="+mn-cs"/>
              </a:rPr>
              <a:t>porttitor</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congue</a:t>
            </a:r>
            <a:r>
              <a:rPr lang="en-US" sz="1200" kern="1200" dirty="0">
                <a:solidFill>
                  <a:schemeClr val="tx2"/>
                </a:solidFill>
                <a:latin typeface="+mn-lt"/>
                <a:ea typeface="+mn-ea"/>
                <a:cs typeface="+mn-cs"/>
              </a:rPr>
              <a:t> </a:t>
            </a:r>
            <a:r>
              <a:rPr lang="en-US" sz="1200" kern="1200" dirty="0" err="1">
                <a:solidFill>
                  <a:schemeClr val="tx2"/>
                </a:solidFill>
                <a:latin typeface="+mn-lt"/>
                <a:ea typeface="+mn-ea"/>
                <a:cs typeface="+mn-cs"/>
              </a:rPr>
              <a:t>massa</a:t>
            </a:r>
            <a:endParaRPr lang="en-US" sz="1200" kern="1200" dirty="0">
              <a:solidFill>
                <a:schemeClr val="tx2"/>
              </a:solidFill>
              <a:latin typeface="+mn-lt"/>
              <a:ea typeface="+mn-ea"/>
              <a:cs typeface="+mn-cs"/>
            </a:endParaRP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385113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7E249-7CE7-4D9C-D0FE-85A9601C10B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BDCE56-55E7-E7BC-7F31-A8D051564E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2B4B53-E443-4C12-8035-DC97F3790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A3F311-6A7C-49F0-BEE8-5FC9DB37DE4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1F34E8-0F03-A466-80DB-4C468E7552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87FBEE9-A24D-79F6-59F0-BCF308D3400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3A60D7AF-145D-3BAC-3AAB-900627C17CB2}"/>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9" name="Slide Number Placeholder 8">
            <a:extLst>
              <a:ext uri="{FF2B5EF4-FFF2-40B4-BE49-F238E27FC236}">
                <a16:creationId xmlns:a16="http://schemas.microsoft.com/office/drawing/2014/main" id="{C5547315-1511-8266-B88E-E5F288604501}"/>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310549328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6D61F-AB73-C1BC-8AD6-23ADE38D52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E043F5-562C-5B7B-572E-D33AE4238599}"/>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3708B069-781E-56C7-B4C9-F181CD0019E3}"/>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5" name="Slide Number Placeholder 4">
            <a:extLst>
              <a:ext uri="{FF2B5EF4-FFF2-40B4-BE49-F238E27FC236}">
                <a16:creationId xmlns:a16="http://schemas.microsoft.com/office/drawing/2014/main" id="{48EF222D-CE1E-EF88-06C5-A51BF7B9CD1E}"/>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139192062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739F83-B1A8-7416-DBF2-5094B0EC55AC}"/>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84C1FC34-5F99-34FB-8E1E-A18356054818}"/>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4" name="Slide Number Placeholder 3">
            <a:extLst>
              <a:ext uri="{FF2B5EF4-FFF2-40B4-BE49-F238E27FC236}">
                <a16:creationId xmlns:a16="http://schemas.microsoft.com/office/drawing/2014/main" id="{54902E84-D0B8-F086-C3BA-488B5590870A}"/>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293969742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8DF10-7E93-C391-17A3-5FCA55CB1F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89F5CE-1B78-6090-E91B-D8C4BB75C1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8869B6-0FAF-DEAE-BC10-937305C2E1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EF5E48-ACC2-9884-6506-B83819422AA5}"/>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68DC74FB-2C47-AD1E-7621-65D2E84CC2FE}"/>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7" name="Slide Number Placeholder 6">
            <a:extLst>
              <a:ext uri="{FF2B5EF4-FFF2-40B4-BE49-F238E27FC236}">
                <a16:creationId xmlns:a16="http://schemas.microsoft.com/office/drawing/2014/main" id="{6E52ADF0-E818-E281-26D0-591932D41557}"/>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177684570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CDEDE-3E66-2A7E-E90B-10EF0B88FA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593CD75-98B9-7574-9A64-5F620F5655A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8E08AF8-CC95-5B38-3E8C-DD7E5B482C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B60730-6908-74F8-32C6-1485092237B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0EE7CA0-6489-73E0-3DF7-44895895E10A}"/>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7" name="Slide Number Placeholder 6">
            <a:extLst>
              <a:ext uri="{FF2B5EF4-FFF2-40B4-BE49-F238E27FC236}">
                <a16:creationId xmlns:a16="http://schemas.microsoft.com/office/drawing/2014/main" id="{54E498A6-D1BE-E4DF-F39F-9701428855C4}"/>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75859790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B4EA9-BAC9-01D5-B469-CBA55A7D95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9A564D-972E-0F28-69EF-14400F48723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61A99A-3DDD-9163-F2C9-A0D1FFA216E2}"/>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6F3968D2-3C0D-0D0E-7AD2-68AE2CE0D4C6}"/>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6" name="Slide Number Placeholder 5">
            <a:extLst>
              <a:ext uri="{FF2B5EF4-FFF2-40B4-BE49-F238E27FC236}">
                <a16:creationId xmlns:a16="http://schemas.microsoft.com/office/drawing/2014/main" id="{EF60E0A9-A388-6B65-5BD0-8C0523464C66}"/>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349809624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4252C4A-B569-FA47-2320-B3472F7BFB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0759D63-87AD-3222-8D4B-2BCC21C89ED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8F0719-D9CB-7F38-3D51-9241646E99B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B285950B-9775-FB9D-574B-ACEA1FCE870A}"/>
              </a:ext>
            </a:extLst>
          </p:cNvPr>
          <p:cNvSpPr>
            <a:spLocks noGrp="1"/>
          </p:cNvSpPr>
          <p:nvPr>
            <p:ph type="ftr" sz="quarter" idx="11"/>
          </p:nvPr>
        </p:nvSpPr>
        <p:spPr/>
        <p:txBody>
          <a:bodyPr/>
          <a:lstStyle/>
          <a:p>
            <a:r>
              <a:rPr lang="en-US"/>
              <a:t>Unit Controller Call Series © Sodexo, July 2024.  All rights Reserved</a:t>
            </a:r>
            <a:endParaRPr lang="en-US" dirty="0"/>
          </a:p>
        </p:txBody>
      </p:sp>
      <p:sp>
        <p:nvSpPr>
          <p:cNvPr id="6" name="Slide Number Placeholder 5">
            <a:extLst>
              <a:ext uri="{FF2B5EF4-FFF2-40B4-BE49-F238E27FC236}">
                <a16:creationId xmlns:a16="http://schemas.microsoft.com/office/drawing/2014/main" id="{2DD23029-F129-F56A-D337-92ABBDFCFACC}"/>
              </a:ext>
            </a:extLst>
          </p:cNvPr>
          <p:cNvSpPr>
            <a:spLocks noGrp="1"/>
          </p:cNvSpPr>
          <p:nvPr>
            <p:ph type="sldNum" sz="quarter" idx="12"/>
          </p:nvPr>
        </p:nvSpPr>
        <p:spPr/>
        <p:txBody>
          <a:bodyPr/>
          <a:lstStyle/>
          <a:p>
            <a:fld id="{B4C771F8-2517-468B-B246-795D9054CC4D}" type="slidenum">
              <a:rPr lang="en-US" smtClean="0"/>
              <a:t>‹#›</a:t>
            </a:fld>
            <a:endParaRPr lang="en-US" dirty="0"/>
          </a:p>
        </p:txBody>
      </p:sp>
    </p:spTree>
    <p:extLst>
      <p:ext uri="{BB962C8B-B14F-4D97-AF65-F5344CB8AC3E}">
        <p14:creationId xmlns:p14="http://schemas.microsoft.com/office/powerpoint/2010/main" val="57857324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7892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4203292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ly 2024.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408620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98277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499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4.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8941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9495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20486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2172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6940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0904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8032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0638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8706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en-US" noProof="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4.  All rights Reserved</a:t>
            </a:r>
          </a:p>
        </p:txBody>
      </p:sp>
    </p:spTree>
    <p:extLst>
      <p:ext uri="{BB962C8B-B14F-4D97-AF65-F5344CB8AC3E}">
        <p14:creationId xmlns:p14="http://schemas.microsoft.com/office/powerpoint/2010/main" val="22398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0066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96911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473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756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547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24415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13350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215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7549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1607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4.  All rights Reserved</a:t>
            </a:r>
          </a:p>
        </p:txBody>
      </p:sp>
    </p:spTree>
    <p:extLst>
      <p:ext uri="{BB962C8B-B14F-4D97-AF65-F5344CB8AC3E}">
        <p14:creationId xmlns:p14="http://schemas.microsoft.com/office/powerpoint/2010/main" val="67195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9629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22053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844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0068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958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213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30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6512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2" y="1584001"/>
            <a:ext cx="5365749" cy="15640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2" name="Content Placeholder 6"/>
          <p:cNvSpPr>
            <a:spLocks noGrp="1"/>
          </p:cNvSpPr>
          <p:nvPr>
            <p:ph sz="quarter" idx="14"/>
          </p:nvPr>
        </p:nvSpPr>
        <p:spPr>
          <a:xfrm>
            <a:off x="6203954" y="1584011"/>
            <a:ext cx="5365751" cy="15640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3" name="Title 2"/>
          <p:cNvSpPr>
            <a:spLocks noGrp="1"/>
          </p:cNvSpPr>
          <p:nvPr>
            <p:ph type="title"/>
          </p:nvPr>
        </p:nvSpPr>
        <p:spPr/>
        <p:txBody>
          <a:bodyPr/>
          <a:lstStyle/>
          <a:p>
            <a:r>
              <a:rPr lang="fr-FR"/>
              <a:t>Modifiez le style du titre</a:t>
            </a:r>
            <a:endParaRPr lang="en-AU"/>
          </a:p>
        </p:txBody>
      </p:sp>
      <p:sp>
        <p:nvSpPr>
          <p:cNvPr id="4" name="Date Placeholder 3"/>
          <p:cNvSpPr>
            <a:spLocks noGrp="1"/>
          </p:cNvSpPr>
          <p:nvPr>
            <p:ph type="dt" sz="half" idx="15"/>
          </p:nvPr>
        </p:nvSpPr>
        <p:spPr/>
        <p:txBody>
          <a:bodyPr/>
          <a:lstStyle/>
          <a:p>
            <a:endParaRPr lang="en-AU" dirty="0"/>
          </a:p>
        </p:txBody>
      </p:sp>
      <p:sp>
        <p:nvSpPr>
          <p:cNvPr id="5" name="Footer Placeholder 4"/>
          <p:cNvSpPr>
            <a:spLocks noGrp="1"/>
          </p:cNvSpPr>
          <p:nvPr>
            <p:ph type="ftr" sz="quarter" idx="16"/>
          </p:nvPr>
        </p:nvSpPr>
        <p:spPr/>
        <p:txBody>
          <a:bodyPr/>
          <a:lstStyle/>
          <a:p>
            <a:r>
              <a:rPr lang="en-US"/>
              <a:t>Unit Controller Call Series © Sodexo, July 2024.  All rights Reserved</a:t>
            </a:r>
            <a:endParaRPr lang="en-AU"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42331778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en-US" noProof="0"/>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7"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1" y="-1906585"/>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1"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3" y="2275310"/>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ly 2024.  All rights Reserved</a:t>
            </a:r>
          </a:p>
        </p:txBody>
      </p:sp>
    </p:spTree>
    <p:extLst>
      <p:ext uri="{BB962C8B-B14F-4D97-AF65-F5344CB8AC3E}">
        <p14:creationId xmlns:p14="http://schemas.microsoft.com/office/powerpoint/2010/main" val="270207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42121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3" y="-2"/>
            <a:ext cx="4256087" cy="3636963"/>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4" y="438150"/>
            <a:ext cx="4256085"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1" y="-1906585"/>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1"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7"/>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ly 2024.  All rights Reserved</a:t>
            </a:r>
          </a:p>
        </p:txBody>
      </p:sp>
    </p:spTree>
    <p:extLst>
      <p:ext uri="{BB962C8B-B14F-4D97-AF65-F5344CB8AC3E}">
        <p14:creationId xmlns:p14="http://schemas.microsoft.com/office/powerpoint/2010/main" val="375190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6"/>
            <a:ext cx="2383203"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6"/>
            <a:ext cx="2383203"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6"/>
            <a:ext cx="2383203"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8"/>
            <a:ext cx="2383203"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8"/>
            <a:ext cx="2383203"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8"/>
            <a:ext cx="2383203"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425425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3"/>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5"/>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3"/>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5"/>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85726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1"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4" y="4453888"/>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4" y="522514"/>
            <a:ext cx="8101012" cy="4792695"/>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1994" indent="-251994">
              <a:buSzPct val="100000"/>
              <a:buFont typeface="+mj-lt"/>
              <a:buAutoNum type="alphaUcPeriod"/>
              <a:defRPr sz="1700">
                <a:solidFill>
                  <a:schemeClr val="tx2"/>
                </a:solidFill>
              </a:defRPr>
            </a:lvl3pPr>
          </a:lstStyle>
          <a:p>
            <a:pPr lvl="0"/>
            <a:r>
              <a:rPr lang="en-US" noProof="0"/>
              <a:t>00</a:t>
            </a:r>
          </a:p>
          <a:p>
            <a:pPr marL="0" marR="0" lvl="1" indent="0" algn="l" defTabSz="914354"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4.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151275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5"/>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1994" indent="-251994">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54"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1994" marR="0" lvl="2" indent="0" algn="l" defTabSz="914354"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4.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5" y="4453888"/>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183187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3"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1994" indent="-251994">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5"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7"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230859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1"/>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4"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1994" indent="-251994">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5"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318865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4" y="2284081"/>
            <a:ext cx="11269663" cy="1388585"/>
          </a:xfrm>
          <a:noFill/>
        </p:spPr>
        <p:txBody>
          <a:bodyPr anchor="t"/>
          <a:lstStyle>
            <a:lvl1pPr>
              <a:defRPr sz="1500">
                <a:solidFill>
                  <a:srgbClr val="2A295C"/>
                </a:solidFill>
              </a:defRPr>
            </a:lvl1pPr>
            <a:lvl2pPr>
              <a:defRPr sz="1500"/>
            </a:lvl2pPr>
            <a:lvl3pPr marL="395278" indent="-128585">
              <a:defRPr sz="1500"/>
            </a:lvl3pPr>
            <a:lvl4pPr marL="542912" indent="-141284">
              <a:defRPr sz="1500"/>
            </a:lvl4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68745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1"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76477"/>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8531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4" y="1544229"/>
            <a:ext cx="11269663" cy="1388585"/>
          </a:xfrm>
        </p:spPr>
        <p:txBody>
          <a:bodyPr/>
          <a:lstStyle>
            <a:lvl2pPr>
              <a:defRPr/>
            </a:lvl2pPr>
            <a:lvl3pPr>
              <a:defRPr/>
            </a:lvl3pPr>
            <a:lvl4pPr>
              <a:defRPr/>
            </a:lvl4pPr>
            <a:lvl5pPr>
              <a:defRPr/>
            </a:lvl5pPr>
          </a:lstStyle>
          <a:p>
            <a:pPr marL="0" marR="0" lvl="0" indent="0" algn="l" defTabSz="914354"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95984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167121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3" y="3955492"/>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9"/>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3" y="1862699"/>
            <a:ext cx="3600000" cy="486800"/>
          </a:xfrm>
          <a:noFill/>
        </p:spPr>
        <p:txBody>
          <a:bodyPr anchor="t"/>
          <a:lstStyle>
            <a:lvl1pPr marL="287993">
              <a:defRPr lang="da-DK" sz="1400" kern="1200">
                <a:solidFill>
                  <a:schemeClr val="accent1"/>
                </a:solidFill>
                <a:latin typeface="+mn-lt"/>
                <a:ea typeface="+mn-ea"/>
                <a:cs typeface="+mn-cs"/>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endParaRPr lang="en-US" noProof="0"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9"/>
            <a:ext cx="3600000" cy="486800"/>
          </a:xfrm>
          <a:noFill/>
        </p:spPr>
        <p:txBody>
          <a:bodyPr anchor="t"/>
          <a:lstStyle>
            <a:lvl1pPr marL="287993">
              <a:defRPr sz="1400">
                <a:solidFill>
                  <a:schemeClr val="accent1"/>
                </a:solidFill>
              </a:defRPr>
            </a:lvl1pPr>
            <a:lvl2pPr marL="268281" indent="-268281">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t>
            </a:r>
            <a:r>
              <a:rPr lang="en-US" noProof="0" dirty="0" err="1"/>
              <a:t>amet</a:t>
            </a:r>
            <a:endParaRPr lang="en-US" noProof="0" dirty="0"/>
          </a:p>
          <a:p>
            <a:pPr lvl="1"/>
            <a:r>
              <a:rPr lang="en-US" noProof="0"/>
              <a:t>Second </a:t>
            </a:r>
            <a:r>
              <a:rPr lang="en-US" noProof="0" dirty="0"/>
              <a:t>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89757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40"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40" y="2959101"/>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5" y="1658939"/>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6" y="1658939"/>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11512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3" y="2057401"/>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3" y="1309781"/>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6" y="59922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1" y="3560003"/>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40" y="1587719"/>
            <a:ext cx="3614737" cy="1082605"/>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1" y="1587717"/>
            <a:ext cx="2668588" cy="1841283"/>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1"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Titre 3">
            <a:extLst>
              <a:ext uri="{FF2B5EF4-FFF2-40B4-BE49-F238E27FC236}">
                <a16:creationId xmlns:a16="http://schemas.microsoft.com/office/drawing/2014/main" id="{FCE24A74-C0D5-4C66-9D11-7BFD8F8C8F3E}"/>
              </a:ext>
            </a:extLst>
          </p:cNvPr>
          <p:cNvSpPr>
            <a:spLocks noGrp="1"/>
          </p:cNvSpPr>
          <p:nvPr>
            <p:ph type="title" hasCustomPrompt="1"/>
          </p:nvPr>
        </p:nvSpPr>
        <p:spPr>
          <a:xfrm>
            <a:off x="443280" y="489841"/>
            <a:ext cx="10515600" cy="346249"/>
          </a:xfrm>
        </p:spPr>
        <p:txBody>
          <a:bodyPr/>
          <a:lstStyle/>
          <a:p>
            <a:r>
              <a:rPr lang="en-US" noProof="0"/>
              <a:t>Title, text level 1</a:t>
            </a:r>
          </a:p>
        </p:txBody>
      </p:sp>
    </p:spTree>
    <p:extLst>
      <p:ext uri="{BB962C8B-B14F-4D97-AF65-F5344CB8AC3E}">
        <p14:creationId xmlns:p14="http://schemas.microsoft.com/office/powerpoint/2010/main" val="168532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5" y="1728635"/>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5"/>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5"/>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5"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422711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7" cy="13510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3" y="1658203"/>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48853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dirty="0" err="1"/>
              <a:t>Title</a:t>
            </a:r>
            <a:r>
              <a:rPr lang="fr-FR" noProof="0" dirty="0"/>
              <a:t>, </a:t>
            </a:r>
            <a:r>
              <a:rPr lang="fr-FR" noProof="0" err="1"/>
              <a:t>text</a:t>
            </a:r>
            <a:r>
              <a:rPr lang="fr-FR" noProof="0"/>
              <a:t> </a:t>
            </a:r>
            <a:r>
              <a:rPr lang="en-US" noProof="0"/>
              <a:t>level</a:t>
            </a:r>
            <a:r>
              <a:rPr lang="fr-FR" noProof="0"/>
              <a:t> </a:t>
            </a:r>
            <a:r>
              <a:rPr lang="fr-FR" noProof="0" dirty="0"/>
              <a:t>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7" cy="13510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2" y="1658203"/>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72681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90364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4" y="1447801"/>
            <a:ext cx="11269663"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4385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3" y="2372185"/>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1" y="1476498"/>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5"/>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8"/>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372185"/>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8"/>
            <a:ext cx="4529083"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8057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6"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6" y="1363171"/>
            <a:ext cx="3562351"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70"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70" y="1363171"/>
            <a:ext cx="3562351"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6"/>
            <a:ext cx="3562351"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1"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3" cy="286319"/>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223321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dirty="0"/>
          </a:p>
        </p:txBody>
      </p:sp>
      <p:sp>
        <p:nvSpPr>
          <p:cNvPr id="5" name="Footer Placeholder 4"/>
          <p:cNvSpPr>
            <a:spLocks noGrp="1"/>
          </p:cNvSpPr>
          <p:nvPr>
            <p:ph type="ftr" sz="quarter" idx="11"/>
          </p:nvPr>
        </p:nvSpPr>
        <p:spPr/>
        <p:txBody>
          <a:bodyPr/>
          <a:lstStyle/>
          <a:p>
            <a:r>
              <a:rPr lang="en-US" noProof="0"/>
              <a:t>Unit Controller Call Series © Sodexo, July 2024.  All rights Reserved</a:t>
            </a:r>
            <a:endParaRPr lang="en-US" noProof="0"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422714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4.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01478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4" y="1513795"/>
            <a:ext cx="11283951"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30922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9" y="3429000"/>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9" y="1724570"/>
            <a:ext cx="3239401" cy="1117743"/>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3" y="3429000"/>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3" y="1724570"/>
            <a:ext cx="3239401" cy="1117743"/>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4" y="3429000"/>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4" y="1724570"/>
            <a:ext cx="3239401" cy="1117743"/>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81503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9"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4"/>
            <a:ext cx="2717227"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54"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6"/>
            <a:ext cx="2717227"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41512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5" y="2926081"/>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3"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9" y="2926081"/>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9"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1"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1"/>
            <a:ext cx="280741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7"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8" y="3658908"/>
            <a:ext cx="1956393" cy="57366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3" y="2926081"/>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91929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4" y="2985769"/>
            <a:ext cx="11306175"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4"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4"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7"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7"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4"/>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9"/>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2"/>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18697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1"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10"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9"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8"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6"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6"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1"/>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8"/>
            <a:ext cx="2870507"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8"/>
            <a:ext cx="2870507" cy="487977"/>
          </a:xfrm>
          <a:solidFill>
            <a:schemeClr val="accent1"/>
          </a:solidFill>
        </p:spPr>
        <p:txBody>
          <a:bodyPr anchor="ctr">
            <a:noAutofit/>
          </a:bodyPr>
          <a:lstStyle>
            <a:lvl1pPr algn="ctr">
              <a:defRPr sz="1500" b="1">
                <a:solidFill>
                  <a:schemeClr val="bg1"/>
                </a:solidFill>
              </a:defRPr>
            </a:lvl1pPr>
          </a:lstStyle>
          <a:p>
            <a:pPr lvl="0"/>
            <a:r>
              <a:rPr lang="en-US" noProof="0"/>
              <a:t>Lorem</a:t>
            </a:r>
            <a:r>
              <a:rPr lang="fr-FR"/>
              <a:t> </a:t>
            </a:r>
            <a:r>
              <a:rPr lang="fr-FR" dirty="0"/>
              <a:t>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8"/>
            <a:ext cx="2870507" cy="487977"/>
          </a:xfrm>
          <a:solidFill>
            <a:schemeClr val="accent1"/>
          </a:solidFill>
        </p:spPr>
        <p:txBody>
          <a:bodyPr anchor="ctr">
            <a:noAutofit/>
          </a:bodyPr>
          <a:lstStyle>
            <a:lvl1pPr algn="ctr">
              <a:defRPr sz="1500" b="1">
                <a:solidFill>
                  <a:schemeClr val="bg1"/>
                </a:solidFill>
              </a:defRPr>
            </a:lvl1pPr>
          </a:lstStyle>
          <a:p>
            <a:pPr lvl="0"/>
            <a:r>
              <a:rPr lang="fr-FR"/>
              <a:t>Lorem </a:t>
            </a:r>
            <a:r>
              <a:rPr lang="en-US" noProof="0"/>
              <a:t>ipsum</a:t>
            </a:r>
            <a:r>
              <a:rPr lang="fr-FR"/>
              <a:t> </a:t>
            </a:r>
            <a:r>
              <a:rPr lang="fr-FR" dirty="0"/>
              <a:t>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3"/>
            <a:ext cx="2870507" cy="487977"/>
          </a:xfrm>
          <a:solidFill>
            <a:srgbClr val="EE0000"/>
          </a:solidFill>
        </p:spPr>
        <p:txBody>
          <a:bodyPr anchor="ctr">
            <a:noAutofit/>
          </a:bodyPr>
          <a:lstStyle>
            <a:lvl1pPr algn="ctr">
              <a:defRPr sz="1500" b="1">
                <a:solidFill>
                  <a:schemeClr val="bg1"/>
                </a:solidFill>
              </a:defRPr>
            </a:lvl1pPr>
          </a:lstStyle>
          <a:p>
            <a:pPr lvl="0"/>
            <a:r>
              <a:rPr lang="fr-FR" dirty="0"/>
              <a:t>Lorem </a:t>
            </a:r>
            <a:r>
              <a:rPr lang="fr-FR" noProof="0"/>
              <a:t>ipsum</a:t>
            </a:r>
            <a:r>
              <a:rPr lang="fr-FR" dirty="0"/>
              <a:t>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6"/>
            <a:ext cx="10515600" cy="312308"/>
          </a:xfrm>
        </p:spPr>
        <p:txBody>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a:t>, </a:t>
            </a:r>
            <a:r>
              <a:rPr lang="en-US" noProof="0"/>
              <a:t>text</a:t>
            </a:r>
            <a:r>
              <a:rPr lang="fr-FR"/>
              <a:t> </a:t>
            </a:r>
            <a:r>
              <a:rPr lang="fr-FR" dirty="0" err="1"/>
              <a:t>level</a:t>
            </a:r>
            <a:r>
              <a:rPr lang="fr-FR" dirty="0"/>
              <a:t> 1</a:t>
            </a:r>
          </a:p>
        </p:txBody>
      </p:sp>
    </p:spTree>
    <p:extLst>
      <p:ext uri="{BB962C8B-B14F-4D97-AF65-F5344CB8AC3E}">
        <p14:creationId xmlns:p14="http://schemas.microsoft.com/office/powerpoint/2010/main" val="111777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1271434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40" y="3191792"/>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51233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9"/>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279709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40" y="1933576"/>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40" y="1933576"/>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40" y="1933576"/>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40" y="2078040"/>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40" y="2078040"/>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40" y="2078040"/>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1" y="-494216"/>
            <a:ext cx="3585500" cy="380584"/>
          </a:xfrm>
          <a:prstGeom prst="rect">
            <a:avLst/>
          </a:prstGeom>
        </p:spPr>
      </p:pic>
    </p:spTree>
    <p:extLst>
      <p:ext uri="{BB962C8B-B14F-4D97-AF65-F5344CB8AC3E}">
        <p14:creationId xmlns:p14="http://schemas.microsoft.com/office/powerpoint/2010/main" val="269820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_//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4.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86787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49" y="5581649"/>
            <a:ext cx="146051" cy="699771"/>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4"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9" y="5675974"/>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70"/>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123819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553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1"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3"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a:t>Title </a:t>
            </a:r>
            <a:br>
              <a:rPr lang="en-US" sz="1400"/>
            </a:br>
            <a:r>
              <a:rPr lang="en-US" sz="1400"/>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3"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3"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a:solidFill>
                  <a:schemeClr val="accent1"/>
                </a:solidFill>
              </a:rPr>
              <a:t>Title </a:t>
            </a:r>
            <a:br>
              <a:rPr lang="en-US" sz="1400">
                <a:solidFill>
                  <a:schemeClr val="accent1"/>
                </a:solidFill>
              </a:rPr>
            </a:br>
            <a:r>
              <a:rPr lang="en-US" sz="1400">
                <a:solidFill>
                  <a:schemeClr val="accent1"/>
                </a:solidFill>
              </a:rPr>
              <a:t>lorem ipsum</a:t>
            </a:r>
          </a:p>
          <a:p>
            <a:r>
              <a:rPr lang="en-US" sz="1200">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3"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3"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54"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54"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41"/>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49664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1"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3" y="2722115"/>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5" y="1752947"/>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3" y="1752946"/>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3" y="1752946"/>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3" y="1752946"/>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3" y="3981796"/>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3" y="3981796"/>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3" y="3981796"/>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3" y="3981796"/>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3" y="4791522"/>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3"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70"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70"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41"/>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880702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3" y="1625600"/>
            <a:ext cx="3714748"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267"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6659"/>
            <a:ext cx="10939200" cy="589492"/>
          </a:xfrm>
        </p:spPr>
        <p:txBody>
          <a:bodyPr>
            <a:noAutofit/>
          </a:bodyPr>
          <a:lstStyle>
            <a:lvl1pPr marL="719649" indent="-719649">
              <a:buClr>
                <a:schemeClr val="accent2"/>
              </a:buClr>
              <a:buFont typeface="+mj-lt"/>
              <a:buAutoNum type="arabicPeriod"/>
              <a:defRPr sz="4800"/>
            </a:lvl1pPr>
          </a:lstStyle>
          <a:p>
            <a:r>
              <a:rPr lang="fr-FR"/>
              <a:t>Modifiez le style du titre</a:t>
            </a:r>
            <a:endParaRPr lang="en-AU" dirty="0"/>
          </a:p>
        </p:txBody>
      </p:sp>
      <p:sp>
        <p:nvSpPr>
          <p:cNvPr id="10" name="Picture Placeholder 8"/>
          <p:cNvSpPr>
            <a:spLocks noGrp="1"/>
          </p:cNvSpPr>
          <p:nvPr>
            <p:ph type="pic" sz="quarter" idx="12" hasCustomPrompt="1"/>
          </p:nvPr>
        </p:nvSpPr>
        <p:spPr>
          <a:xfrm>
            <a:off x="4550833" y="1625600"/>
            <a:ext cx="701701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103251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hapter Title Image">
    <p:spTree>
      <p:nvGrpSpPr>
        <p:cNvPr id="1" name=""/>
        <p:cNvGrpSpPr/>
        <p:nvPr/>
      </p:nvGrpSpPr>
      <p:grpSpPr>
        <a:xfrm>
          <a:off x="0" y="0"/>
          <a:ext cx="0" cy="0"/>
          <a:chOff x="0" y="0"/>
          <a:chExt cx="0" cy="0"/>
        </a:xfrm>
      </p:grpSpPr>
      <p:sp>
        <p:nvSpPr>
          <p:cNvPr id="11" name="Text Placeholder 6"/>
          <p:cNvSpPr>
            <a:spLocks noGrp="1"/>
          </p:cNvSpPr>
          <p:nvPr>
            <p:ph type="body" sz="quarter" idx="13" hasCustomPrompt="1"/>
          </p:nvPr>
        </p:nvSpPr>
        <p:spPr>
          <a:xfrm>
            <a:off x="4550833" y="1625600"/>
            <a:ext cx="7018867" cy="4732867"/>
          </a:xfrm>
          <a:solidFill>
            <a:schemeClr val="accent1"/>
          </a:solidFill>
        </p:spPr>
        <p:txBody>
          <a:bodyPr lIns="0" tIns="0" rIns="0" bIns="144000" anchor="b">
            <a:noAutofit/>
          </a:bodyPr>
          <a:lstStyle>
            <a:lvl1pPr marL="0" indent="0" algn="r">
              <a:lnSpc>
                <a:spcPct val="10000"/>
              </a:lnSpc>
              <a:spcBef>
                <a:spcPts val="0"/>
              </a:spcBef>
              <a:spcAft>
                <a:spcPts val="0"/>
              </a:spcAft>
              <a:buNone/>
              <a:defRPr sz="37066" b="1" kern="0" cap="none" baseline="0">
                <a:solidFill>
                  <a:schemeClr val="bg1"/>
                </a:solidFill>
              </a:defRPr>
            </a:lvl1pPr>
          </a:lstStyle>
          <a:p>
            <a:pPr lvl="0"/>
            <a:r>
              <a:rPr lang="en-US" dirty="0"/>
              <a:t>0</a:t>
            </a:r>
          </a:p>
        </p:txBody>
      </p:sp>
      <p:sp>
        <p:nvSpPr>
          <p:cNvPr id="7" name="Text Placeholder 6"/>
          <p:cNvSpPr>
            <a:spLocks noGrp="1"/>
          </p:cNvSpPr>
          <p:nvPr>
            <p:ph type="body" sz="quarter" idx="10" hasCustomPrompt="1"/>
          </p:nvPr>
        </p:nvSpPr>
        <p:spPr>
          <a:xfrm>
            <a:off x="628651" y="1625600"/>
            <a:ext cx="3714749" cy="4732867"/>
          </a:xfrm>
          <a:solidFill>
            <a:srgbClr val="FF0000"/>
          </a:solidFill>
        </p:spPr>
        <p:txBody>
          <a:bodyPr lIns="154800" tIns="154800" rIns="154800" bIns="154800" anchor="t">
            <a:noAutofit/>
          </a:bodyPr>
          <a:lstStyle>
            <a:lvl1pPr marL="0" indent="0" algn="l">
              <a:lnSpc>
                <a:spcPct val="90000"/>
              </a:lnSpc>
              <a:spcBef>
                <a:spcPts val="0"/>
              </a:spcBef>
              <a:spcAft>
                <a:spcPts val="0"/>
              </a:spcAft>
              <a:buNone/>
              <a:defRPr sz="2267" b="1" cap="none" baseline="0">
                <a:solidFill>
                  <a:schemeClr val="bg1"/>
                </a:solidFill>
              </a:defRPr>
            </a:lvl1pPr>
          </a:lstStyle>
          <a:p>
            <a:pPr lvl="0"/>
            <a:r>
              <a:rPr lang="en-US" dirty="0"/>
              <a:t>[Subtitle]</a:t>
            </a:r>
          </a:p>
        </p:txBody>
      </p:sp>
      <p:sp>
        <p:nvSpPr>
          <p:cNvPr id="5" name="Title 4"/>
          <p:cNvSpPr>
            <a:spLocks noGrp="1"/>
          </p:cNvSpPr>
          <p:nvPr>
            <p:ph type="title"/>
          </p:nvPr>
        </p:nvSpPr>
        <p:spPr>
          <a:xfrm>
            <a:off x="628652" y="355200"/>
            <a:ext cx="10941049" cy="590400"/>
          </a:xfrm>
        </p:spPr>
        <p:txBody>
          <a:bodyPr>
            <a:noAutofit/>
          </a:bodyPr>
          <a:lstStyle>
            <a:lvl1pPr marL="0" indent="0">
              <a:buClr>
                <a:schemeClr val="accent2"/>
              </a:buClr>
              <a:buFont typeface="+mj-lt"/>
              <a:buNone/>
              <a:defRPr sz="4800"/>
            </a:lvl1pPr>
          </a:lstStyle>
          <a:p>
            <a:r>
              <a:rPr lang="fr-FR"/>
              <a:t>Modifiez le style du titre</a:t>
            </a:r>
            <a:endParaRPr lang="en-AU" dirty="0"/>
          </a:p>
        </p:txBody>
      </p:sp>
    </p:spTree>
    <p:extLst>
      <p:ext uri="{BB962C8B-B14F-4D97-AF65-F5344CB8AC3E}">
        <p14:creationId xmlns:p14="http://schemas.microsoft.com/office/powerpoint/2010/main" val="318992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ntents/Agenda">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267" b="0" cap="none" baseline="0">
                <a:solidFill>
                  <a:schemeClr val="bg1"/>
                </a:solidFill>
              </a:defRPr>
            </a:lvl1pPr>
          </a:lstStyle>
          <a:p>
            <a:pPr lvl="0"/>
            <a:r>
              <a:rPr lang="en-US" dirty="0"/>
              <a:t>[Chapters]</a:t>
            </a:r>
          </a:p>
        </p:txBody>
      </p:sp>
      <p:sp>
        <p:nvSpPr>
          <p:cNvPr id="2" name="Title 1"/>
          <p:cNvSpPr>
            <a:spLocks noGrp="1"/>
          </p:cNvSpPr>
          <p:nvPr>
            <p:ph type="title" hasCustomPrompt="1"/>
          </p:nvPr>
        </p:nvSpPr>
        <p:spPr/>
        <p:txBody>
          <a:bodyPr/>
          <a:lstStyle>
            <a:lvl1pPr>
              <a:defRPr baseline="0"/>
            </a:lvl1pPr>
          </a:lstStyle>
          <a:p>
            <a:r>
              <a:rPr lang="en-US" dirty="0"/>
              <a:t>Contents or Agenda</a:t>
            </a:r>
            <a:endParaRPr lang="en-AU" dirty="0"/>
          </a:p>
        </p:txBody>
      </p:sp>
    </p:spTree>
    <p:extLst>
      <p:ext uri="{BB962C8B-B14F-4D97-AF65-F5344CB8AC3E}">
        <p14:creationId xmlns:p14="http://schemas.microsoft.com/office/powerpoint/2010/main" val="315294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sp>
        <p:nvSpPr>
          <p:cNvPr id="12" name="TextBox 11"/>
          <p:cNvSpPr txBox="1"/>
          <p:nvPr userDrawn="1"/>
        </p:nvSpPr>
        <p:spPr>
          <a:xfrm>
            <a:off x="628652" y="355200"/>
            <a:ext cx="10941049" cy="784830"/>
          </a:xfrm>
          <a:prstGeom prst="rect">
            <a:avLst/>
          </a:prstGeom>
          <a:noFill/>
        </p:spPr>
        <p:txBody>
          <a:bodyPr wrap="square" lIns="0" tIns="0" rIns="0" rtlCol="0">
            <a:spAutoFit/>
          </a:bodyPr>
          <a:lstStyle/>
          <a:p>
            <a:r>
              <a:rPr lang="en-AU" sz="4800" b="1" dirty="0">
                <a:solidFill>
                  <a:schemeClr val="accent1"/>
                </a:solidFill>
              </a:rPr>
              <a:t>Appendices</a:t>
            </a:r>
          </a:p>
        </p:txBody>
      </p:sp>
      <p:sp>
        <p:nvSpPr>
          <p:cNvPr id="7" name="Text Placeholder 6"/>
          <p:cNvSpPr>
            <a:spLocks noGrp="1"/>
          </p:cNvSpPr>
          <p:nvPr>
            <p:ph type="body" sz="quarter" idx="10" hasCustomPrompt="1"/>
          </p:nvPr>
        </p:nvSpPr>
        <p:spPr>
          <a:xfrm>
            <a:off x="628651" y="1625600"/>
            <a:ext cx="5778500" cy="4732867"/>
          </a:xfrm>
          <a:solidFill>
            <a:srgbClr val="FF0000"/>
          </a:solidFill>
        </p:spPr>
        <p:txBody>
          <a:bodyPr lIns="309600" tIns="309600" rIns="309600" bIns="309600" anchor="t">
            <a:noAutofit/>
          </a:bodyPr>
          <a:lstStyle>
            <a:lvl1pPr marL="457189" indent="-457189" algn="l">
              <a:lnSpc>
                <a:spcPct val="100000"/>
              </a:lnSpc>
              <a:spcBef>
                <a:spcPts val="0"/>
              </a:spcBef>
              <a:spcAft>
                <a:spcPts val="400"/>
              </a:spcAft>
              <a:buClr>
                <a:schemeClr val="bg1"/>
              </a:buClr>
              <a:buFont typeface="+mj-lt"/>
              <a:buAutoNum type="arabicPeriod"/>
              <a:defRPr sz="2267" b="0" cap="none" baseline="0">
                <a:solidFill>
                  <a:schemeClr val="bg1"/>
                </a:solidFill>
              </a:defRPr>
            </a:lvl1pPr>
          </a:lstStyle>
          <a:p>
            <a:pPr lvl="0"/>
            <a:r>
              <a:rPr lang="en-US" dirty="0"/>
              <a:t>[Chapters]</a:t>
            </a:r>
          </a:p>
        </p:txBody>
      </p:sp>
    </p:spTree>
    <p:extLst>
      <p:ext uri="{BB962C8B-B14F-4D97-AF65-F5344CB8AC3E}">
        <p14:creationId xmlns:p14="http://schemas.microsoft.com/office/powerpoint/2010/main" val="105876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Forward-looking Info">
    <p:spTree>
      <p:nvGrpSpPr>
        <p:cNvPr id="1" name=""/>
        <p:cNvGrpSpPr/>
        <p:nvPr/>
      </p:nvGrpSpPr>
      <p:grpSpPr>
        <a:xfrm>
          <a:off x="0" y="0"/>
          <a:ext cx="0" cy="0"/>
          <a:chOff x="0" y="0"/>
          <a:chExt cx="0" cy="0"/>
        </a:xfrm>
      </p:grpSpPr>
      <p:sp>
        <p:nvSpPr>
          <p:cNvPr id="2" name="TextBox 1"/>
          <p:cNvSpPr txBox="1"/>
          <p:nvPr userDrawn="1"/>
        </p:nvSpPr>
        <p:spPr>
          <a:xfrm>
            <a:off x="589280" y="355200"/>
            <a:ext cx="10980421" cy="738664"/>
          </a:xfrm>
          <a:prstGeom prst="rect">
            <a:avLst/>
          </a:prstGeom>
          <a:noFill/>
        </p:spPr>
        <p:txBody>
          <a:bodyPr wrap="square" lIns="0" tIns="0" rIns="0" bIns="0" rtlCol="0">
            <a:spAutoFit/>
          </a:bodyPr>
          <a:lstStyle/>
          <a:p>
            <a:r>
              <a:rPr lang="en-AU" sz="4800" b="1" dirty="0">
                <a:solidFill>
                  <a:schemeClr val="accent1"/>
                </a:solidFill>
              </a:rPr>
              <a:t>Forward-looking Information</a:t>
            </a:r>
          </a:p>
        </p:txBody>
      </p:sp>
      <p:sp>
        <p:nvSpPr>
          <p:cNvPr id="7" name="Text Placeholder 6"/>
          <p:cNvSpPr>
            <a:spLocks noGrp="1"/>
          </p:cNvSpPr>
          <p:nvPr>
            <p:ph type="body" sz="quarter" idx="10" hasCustomPrompt="1"/>
          </p:nvPr>
        </p:nvSpPr>
        <p:spPr>
          <a:xfrm>
            <a:off x="635000" y="1625600"/>
            <a:ext cx="8661400" cy="4732867"/>
          </a:xfrm>
          <a:solidFill>
            <a:schemeClr val="bg2"/>
          </a:solidFill>
        </p:spPr>
        <p:txBody>
          <a:bodyPr lIns="309600" tIns="309600" rIns="309600" bIns="309600" anchor="t">
            <a:noAutofit/>
          </a:bodyPr>
          <a:lstStyle>
            <a:lvl1pPr marL="0" indent="0" algn="l">
              <a:lnSpc>
                <a:spcPct val="110000"/>
              </a:lnSpc>
              <a:spcBef>
                <a:spcPts val="0"/>
              </a:spcBef>
              <a:spcAft>
                <a:spcPts val="800"/>
              </a:spcAft>
              <a:buClr>
                <a:schemeClr val="bg1"/>
              </a:buClr>
              <a:buFont typeface="+mj-lt"/>
              <a:buNone/>
              <a:defRPr sz="2267" b="0" cap="none" baseline="0">
                <a:solidFill>
                  <a:schemeClr val="accent1"/>
                </a:solidFill>
              </a:defRPr>
            </a:lvl1pPr>
          </a:lstStyle>
          <a:p>
            <a:pPr lvl="0"/>
            <a:r>
              <a:rPr lang="en-US" dirty="0"/>
              <a:t>[Enter text]</a:t>
            </a:r>
          </a:p>
        </p:txBody>
      </p:sp>
      <p:sp>
        <p:nvSpPr>
          <p:cNvPr id="4" name="Date Placeholder 3"/>
          <p:cNvSpPr>
            <a:spLocks noGrp="1"/>
          </p:cNvSpPr>
          <p:nvPr>
            <p:ph type="dt" sz="half" idx="11"/>
          </p:nvPr>
        </p:nvSpPr>
        <p:spPr/>
        <p:txBody>
          <a:bodyPr/>
          <a:lstStyle/>
          <a:p>
            <a:endParaRPr lang="en-AU" dirty="0"/>
          </a:p>
        </p:txBody>
      </p:sp>
      <p:sp>
        <p:nvSpPr>
          <p:cNvPr id="6" name="Footer Placeholder 5"/>
          <p:cNvSpPr>
            <a:spLocks noGrp="1"/>
          </p:cNvSpPr>
          <p:nvPr>
            <p:ph type="ftr" sz="quarter" idx="12"/>
          </p:nvPr>
        </p:nvSpPr>
        <p:spPr/>
        <p:txBody>
          <a:bodyPr/>
          <a:lstStyle/>
          <a:p>
            <a:r>
              <a:rPr lang="en-US"/>
              <a:t>Unit Controller Call Series © Sodexo, July 2024.  All rights Reserved</a:t>
            </a:r>
            <a:endParaRPr lang="en-AU" dirty="0"/>
          </a:p>
        </p:txBody>
      </p:sp>
      <p:sp>
        <p:nvSpPr>
          <p:cNvPr id="8" name="Slide Number Placeholder 7"/>
          <p:cNvSpPr>
            <a:spLocks noGrp="1"/>
          </p:cNvSpPr>
          <p:nvPr>
            <p:ph type="sldNum" sz="quarter" idx="13"/>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209307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4"/>
            <a:ext cx="10939200" cy="540936"/>
          </a:xfrm>
        </p:spPr>
        <p:txBody>
          <a:bodyPr/>
          <a:lstStyle/>
          <a:p>
            <a:r>
              <a:rPr lang="fr-FR"/>
              <a:t>Modifiez le style du titre</a:t>
            </a:r>
            <a:endParaRPr lang="en-AU" dirty="0"/>
          </a:p>
        </p:txBody>
      </p:sp>
      <p:sp>
        <p:nvSpPr>
          <p:cNvPr id="3" name="Footer Placeholder 2"/>
          <p:cNvSpPr>
            <a:spLocks noGrp="1"/>
          </p:cNvSpPr>
          <p:nvPr>
            <p:ph type="ftr" sz="quarter" idx="10"/>
          </p:nvPr>
        </p:nvSpPr>
        <p:spPr/>
        <p:txBody>
          <a:bodyPr/>
          <a:lstStyle/>
          <a:p>
            <a:r>
              <a:rPr lang="en-US"/>
              <a:t>Unit Controller Call Series © Sodexo, July 2024.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3267"/>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125797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8187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4.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800" y="1584000"/>
            <a:ext cx="109392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8"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12" name="Title 1"/>
          <p:cNvSpPr>
            <a:spLocks noGrp="1"/>
          </p:cNvSpPr>
          <p:nvPr>
            <p:ph type="title"/>
          </p:nvPr>
        </p:nvSpPr>
        <p:spPr>
          <a:xfrm>
            <a:off x="628799" y="404664"/>
            <a:ext cx="10939200" cy="540936"/>
          </a:xfrm>
        </p:spPr>
        <p:txBody>
          <a:bodyPr/>
          <a:lstStyle/>
          <a:p>
            <a:r>
              <a:rPr lang="fr-FR"/>
              <a:t>Modifiez le style du titre</a:t>
            </a:r>
            <a:endParaRPr lang="en-AU" dirty="0"/>
          </a:p>
        </p:txBody>
      </p:sp>
    </p:spTree>
    <p:extLst>
      <p:ext uri="{BB962C8B-B14F-4D97-AF65-F5344CB8AC3E}">
        <p14:creationId xmlns:p14="http://schemas.microsoft.com/office/powerpoint/2010/main" val="214846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1" y="1584000"/>
            <a:ext cx="5365749" cy="47836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2" name="Content Placeholder 6"/>
          <p:cNvSpPr>
            <a:spLocks noGrp="1"/>
          </p:cNvSpPr>
          <p:nvPr>
            <p:ph sz="quarter" idx="14"/>
          </p:nvPr>
        </p:nvSpPr>
        <p:spPr>
          <a:xfrm>
            <a:off x="6203950" y="1584001"/>
            <a:ext cx="5365751" cy="478408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3" name="Title 2"/>
          <p:cNvSpPr>
            <a:spLocks noGrp="1"/>
          </p:cNvSpPr>
          <p:nvPr>
            <p:ph type="title"/>
          </p:nvPr>
        </p:nvSpPr>
        <p:spPr/>
        <p:txBody>
          <a:bodyPr/>
          <a:lstStyle/>
          <a:p>
            <a:r>
              <a:rPr lang="fr-FR"/>
              <a:t>Modifiez le style du titre</a:t>
            </a:r>
            <a:endParaRPr lang="en-AU"/>
          </a:p>
        </p:txBody>
      </p:sp>
      <p:sp>
        <p:nvSpPr>
          <p:cNvPr id="4" name="Date Placeholder 3"/>
          <p:cNvSpPr>
            <a:spLocks noGrp="1"/>
          </p:cNvSpPr>
          <p:nvPr>
            <p:ph type="dt" sz="half" idx="15"/>
          </p:nvPr>
        </p:nvSpPr>
        <p:spPr/>
        <p:txBody>
          <a:bodyPr/>
          <a:lstStyle/>
          <a:p>
            <a:endParaRPr lang="en-AU" dirty="0"/>
          </a:p>
        </p:txBody>
      </p:sp>
      <p:sp>
        <p:nvSpPr>
          <p:cNvPr id="5" name="Footer Placeholder 4"/>
          <p:cNvSpPr>
            <a:spLocks noGrp="1"/>
          </p:cNvSpPr>
          <p:nvPr>
            <p:ph type="ftr" sz="quarter" idx="16"/>
          </p:nvPr>
        </p:nvSpPr>
        <p:spPr/>
        <p:txBody>
          <a:bodyPr/>
          <a:lstStyle/>
          <a:p>
            <a:r>
              <a:rPr lang="en-US"/>
              <a:t>Unit Controller Call Series © Sodexo, July 2024.  All rights Reserved</a:t>
            </a:r>
            <a:endParaRPr lang="en-AU"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128360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ubtitle &amp; Three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4.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799" y="1584000"/>
            <a:ext cx="3509285"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accent3"/>
                </a:solidFill>
              </a:defRPr>
            </a:lvl1pPr>
          </a:lstStyle>
          <a:p>
            <a:pPr lvl="0"/>
            <a:r>
              <a:rPr lang="en-US" dirty="0"/>
              <a:t>[Subtitle]</a:t>
            </a:r>
          </a:p>
        </p:txBody>
      </p:sp>
      <p:sp>
        <p:nvSpPr>
          <p:cNvPr id="12" name="Title 1"/>
          <p:cNvSpPr>
            <a:spLocks noGrp="1"/>
          </p:cNvSpPr>
          <p:nvPr>
            <p:ph type="title"/>
          </p:nvPr>
        </p:nvSpPr>
        <p:spPr>
          <a:xfrm>
            <a:off x="628799" y="404664"/>
            <a:ext cx="10939200" cy="540936"/>
          </a:xfrm>
        </p:spPr>
        <p:txBody>
          <a:bodyPr/>
          <a:lstStyle/>
          <a:p>
            <a:r>
              <a:rPr lang="fr-FR"/>
              <a:t>Modifiez le style du titre</a:t>
            </a:r>
            <a:endParaRPr lang="en-AU" dirty="0"/>
          </a:p>
        </p:txBody>
      </p:sp>
      <p:sp>
        <p:nvSpPr>
          <p:cNvPr id="9" name="Content Placeholder 6"/>
          <p:cNvSpPr>
            <a:spLocks noGrp="1"/>
          </p:cNvSpPr>
          <p:nvPr>
            <p:ph sz="quarter" idx="16"/>
          </p:nvPr>
        </p:nvSpPr>
        <p:spPr>
          <a:xfrm>
            <a:off x="4339989" y="1584000"/>
            <a:ext cx="35088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0" name="Content Placeholder 6"/>
          <p:cNvSpPr>
            <a:spLocks noGrp="1"/>
          </p:cNvSpPr>
          <p:nvPr>
            <p:ph sz="quarter" idx="17"/>
          </p:nvPr>
        </p:nvSpPr>
        <p:spPr>
          <a:xfrm>
            <a:off x="8058152" y="1584000"/>
            <a:ext cx="3508800" cy="47744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404731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AU" dirty="0"/>
          </a:p>
        </p:txBody>
      </p:sp>
      <p:sp>
        <p:nvSpPr>
          <p:cNvPr id="8" name="Footer Placeholder 7"/>
          <p:cNvSpPr>
            <a:spLocks noGrp="1"/>
          </p:cNvSpPr>
          <p:nvPr>
            <p:ph type="ftr" sz="quarter" idx="11"/>
          </p:nvPr>
        </p:nvSpPr>
        <p:spPr/>
        <p:txBody>
          <a:bodyPr/>
          <a:lstStyle/>
          <a:p>
            <a:r>
              <a:rPr lang="en-US"/>
              <a:t>Unit Controller Call Series © Sodexo, July 2024.  All rights Reserved</a:t>
            </a:r>
            <a:endParaRPr lang="en-AU" dirty="0"/>
          </a:p>
        </p:txBody>
      </p:sp>
      <p:sp>
        <p:nvSpPr>
          <p:cNvPr id="9" name="Slide Number Placeholder 8"/>
          <p:cNvSpPr>
            <a:spLocks noGrp="1"/>
          </p:cNvSpPr>
          <p:nvPr>
            <p:ph type="sldNum" sz="quarter" idx="12"/>
          </p:nvPr>
        </p:nvSpPr>
        <p:spPr/>
        <p:txBody>
          <a:bodyPr/>
          <a:lstStyle/>
          <a:p>
            <a:fld id="{E917DE0E-AFB1-41FD-BC35-27DB61CA125F}" type="slidenum">
              <a:rPr lang="en-AU" smtClean="0"/>
              <a:pPr/>
              <a:t>‹#›</a:t>
            </a:fld>
            <a:endParaRPr lang="en-AU" dirty="0"/>
          </a:p>
        </p:txBody>
      </p:sp>
      <p:sp>
        <p:nvSpPr>
          <p:cNvPr id="10" name="Content Placeholder 6"/>
          <p:cNvSpPr>
            <a:spLocks noGrp="1"/>
          </p:cNvSpPr>
          <p:nvPr>
            <p:ph sz="quarter" idx="13"/>
          </p:nvPr>
        </p:nvSpPr>
        <p:spPr>
          <a:xfrm>
            <a:off x="628650" y="1583999"/>
            <a:ext cx="10941049" cy="229796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4"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accent3"/>
                </a:solidFill>
              </a:defRPr>
            </a:lvl1pPr>
          </a:lstStyle>
          <a:p>
            <a:pPr lvl="0"/>
            <a:r>
              <a:rPr lang="en-US" dirty="0"/>
              <a:t>[Subtitle]</a:t>
            </a:r>
          </a:p>
        </p:txBody>
      </p:sp>
      <p:sp>
        <p:nvSpPr>
          <p:cNvPr id="13" name="Content Placeholder 6"/>
          <p:cNvSpPr>
            <a:spLocks noGrp="1"/>
          </p:cNvSpPr>
          <p:nvPr>
            <p:ph sz="quarter" idx="16"/>
          </p:nvPr>
        </p:nvSpPr>
        <p:spPr>
          <a:xfrm>
            <a:off x="628652" y="4053070"/>
            <a:ext cx="10941049" cy="23023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2" name="Title 1"/>
          <p:cNvSpPr>
            <a:spLocks noGrp="1"/>
          </p:cNvSpPr>
          <p:nvPr>
            <p:ph type="title"/>
          </p:nvPr>
        </p:nvSpPr>
        <p:spPr/>
        <p:txBody>
          <a:bodyPr/>
          <a:lstStyle/>
          <a:p>
            <a:r>
              <a:rPr lang="fr-FR"/>
              <a:t>Modifiez le style du titre</a:t>
            </a:r>
            <a:endParaRPr lang="en-AU" dirty="0"/>
          </a:p>
        </p:txBody>
      </p:sp>
    </p:spTree>
    <p:extLst>
      <p:ext uri="{BB962C8B-B14F-4D97-AF65-F5344CB8AC3E}">
        <p14:creationId xmlns:p14="http://schemas.microsoft.com/office/powerpoint/2010/main" val="185026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 Highlight 1">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1"/>
          </a:solidFill>
          <a:ln w="57150">
            <a:noFill/>
            <a:miter lim="800000"/>
          </a:ln>
        </p:spPr>
        <p:txBody>
          <a:bodyPr lIns="154800" tIns="108000" rIns="154800" bIns="154800">
            <a:normAutofit/>
          </a:bodyPr>
          <a:lstStyle>
            <a:lvl1pPr marL="0" indent="0">
              <a:buNone/>
              <a:defRPr sz="2933" b="1">
                <a:solidFill>
                  <a:schemeClr val="bg1"/>
                </a:solidFill>
              </a:defRPr>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bg1"/>
                </a:solidFill>
              </a:defRPr>
            </a:lvl1pPr>
          </a:lstStyle>
          <a:p>
            <a:pPr lvl="0"/>
            <a:r>
              <a:rPr lang="en-US" dirty="0"/>
              <a:t>[Content]</a:t>
            </a:r>
            <a:endParaRPr lang="en-AU" dirty="0"/>
          </a:p>
        </p:txBody>
      </p:sp>
      <p:sp>
        <p:nvSpPr>
          <p:cNvPr id="11"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bg1"/>
                </a:solidFill>
              </a:defRPr>
            </a:lvl1pPr>
          </a:lstStyle>
          <a:p>
            <a:pPr lvl="0"/>
            <a:r>
              <a:rPr lang="en-US" dirty="0"/>
              <a:t>[Content]</a:t>
            </a:r>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6"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bg1"/>
                </a:solidFill>
              </a:defRPr>
            </a:lvl1pPr>
          </a:lstStyle>
          <a:p>
            <a:pPr lvl="0"/>
            <a:r>
              <a:rPr lang="en-US" dirty="0"/>
              <a:t>[Content]</a:t>
            </a:r>
            <a:endParaRPr lang="en-AU" dirty="0"/>
          </a:p>
        </p:txBody>
      </p:sp>
      <p:sp>
        <p:nvSpPr>
          <p:cNvPr id="17"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bg1"/>
                </a:solidFill>
              </a:defRPr>
            </a:lvl1pPr>
          </a:lstStyle>
          <a:p>
            <a:pPr lvl="0"/>
            <a:r>
              <a:rPr lang="en-US" dirty="0"/>
              <a:t>[Content]</a:t>
            </a:r>
            <a:endParaRPr lang="en-AU" dirty="0"/>
          </a:p>
        </p:txBody>
      </p:sp>
    </p:spTree>
    <p:extLst>
      <p:ext uri="{BB962C8B-B14F-4D97-AF65-F5344CB8AC3E}">
        <p14:creationId xmlns:p14="http://schemas.microsoft.com/office/powerpoint/2010/main" val="319481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ontent Highlight 2">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5019" y="1665600"/>
            <a:ext cx="10866581" cy="4651200"/>
          </a:xfrm>
          <a:ln w="57150">
            <a:solidFill>
              <a:schemeClr val="accent1"/>
            </a:solidFill>
            <a:miter lim="800000"/>
          </a:ln>
        </p:spPr>
        <p:txBody>
          <a:bodyPr lIns="126000" tIns="79200" rIns="154800" bIns="154800">
            <a:normAutofit/>
          </a:bodyPr>
          <a:lstStyle>
            <a:lvl1pPr marL="0" indent="0">
              <a:buNone/>
              <a:defRPr sz="2933" b="1"/>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7"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8"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353009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ntent Highlight 3">
    <p:spTree>
      <p:nvGrpSpPr>
        <p:cNvPr id="1" name=""/>
        <p:cNvGrpSpPr/>
        <p:nvPr/>
      </p:nvGrpSpPr>
      <p:grpSpPr>
        <a:xfrm>
          <a:off x="0" y="0"/>
          <a:ext cx="0" cy="0"/>
          <a:chOff x="0" y="0"/>
          <a:chExt cx="0" cy="0"/>
        </a:xfrm>
      </p:grpSpPr>
      <p:sp>
        <p:nvSpPr>
          <p:cNvPr id="15" name="Text Placeholder 2"/>
          <p:cNvSpPr>
            <a:spLocks noGrp="1"/>
          </p:cNvSpPr>
          <p:nvPr>
            <p:ph type="body" sz="quarter" idx="19" hasCustomPrompt="1"/>
          </p:nvPr>
        </p:nvSpPr>
        <p:spPr>
          <a:xfrm>
            <a:off x="628800" y="1627200"/>
            <a:ext cx="10939200" cy="4732800"/>
          </a:xfrm>
          <a:solidFill>
            <a:schemeClr val="accent4"/>
          </a:solidFill>
          <a:ln w="57150">
            <a:noFill/>
            <a:miter lim="800000"/>
          </a:ln>
        </p:spPr>
        <p:txBody>
          <a:bodyPr lIns="154800" tIns="108000" rIns="154800" bIns="154800">
            <a:normAutofit/>
          </a:bodyPr>
          <a:lstStyle>
            <a:lvl1pPr marL="0" indent="0">
              <a:buNone/>
              <a:defRPr sz="2933" b="1">
                <a:solidFill>
                  <a:schemeClr val="accent1"/>
                </a:solidFill>
              </a:defRPr>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6"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7"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0"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1"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180568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ntent Highlight 4">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67200" y="1665600"/>
            <a:ext cx="10867200" cy="4651200"/>
          </a:xfrm>
          <a:ln w="57150">
            <a:solidFill>
              <a:schemeClr val="accent4"/>
            </a:solidFill>
            <a:miter lim="800000"/>
          </a:ln>
        </p:spPr>
        <p:txBody>
          <a:bodyPr lIns="126000" tIns="79200" rIns="154800" bIns="154800">
            <a:normAutofit/>
          </a:bodyPr>
          <a:lstStyle>
            <a:lvl1pPr marL="0" indent="0">
              <a:buNone/>
              <a:defRPr sz="2933" b="1"/>
            </a:lvl1pPr>
          </a:lstStyle>
          <a:p>
            <a:pPr lvl="0"/>
            <a:r>
              <a:rPr lang="en-US" dirty="0"/>
              <a:t>[Subtitle in one lin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
        <p:nvSpPr>
          <p:cNvPr id="15" name="Content Placeholder 9"/>
          <p:cNvSpPr>
            <a:spLocks noGrp="1"/>
          </p:cNvSpPr>
          <p:nvPr>
            <p:ph sz="quarter" idx="15" hasCustomPrompt="1"/>
          </p:nvPr>
        </p:nvSpPr>
        <p:spPr>
          <a:xfrm>
            <a:off x="836085" y="2755200"/>
            <a:ext cx="2476499"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6" name="Content Placeholder 9"/>
          <p:cNvSpPr>
            <a:spLocks noGrp="1"/>
          </p:cNvSpPr>
          <p:nvPr>
            <p:ph sz="quarter" idx="16" hasCustomPrompt="1"/>
          </p:nvPr>
        </p:nvSpPr>
        <p:spPr>
          <a:xfrm>
            <a:off x="3519869" y="2755200"/>
            <a:ext cx="2474521"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19" name="Content Placeholder 9"/>
          <p:cNvSpPr>
            <a:spLocks noGrp="1"/>
          </p:cNvSpPr>
          <p:nvPr>
            <p:ph sz="quarter" idx="17" hasCustomPrompt="1"/>
          </p:nvPr>
        </p:nvSpPr>
        <p:spPr>
          <a:xfrm>
            <a:off x="6201824"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
        <p:nvSpPr>
          <p:cNvPr id="20" name="Content Placeholder 9"/>
          <p:cNvSpPr>
            <a:spLocks noGrp="1"/>
          </p:cNvSpPr>
          <p:nvPr>
            <p:ph sz="quarter" idx="18" hasCustomPrompt="1"/>
          </p:nvPr>
        </p:nvSpPr>
        <p:spPr>
          <a:xfrm>
            <a:off x="8883651" y="2755200"/>
            <a:ext cx="2476800" cy="2929467"/>
          </a:xfrm>
        </p:spPr>
        <p:txBody>
          <a:bodyPr/>
          <a:lstStyle>
            <a:lvl1pPr marL="0" indent="0" algn="ctr">
              <a:buNone/>
              <a:defRPr>
                <a:solidFill>
                  <a:schemeClr val="accent1"/>
                </a:solidFill>
              </a:defRPr>
            </a:lvl1pPr>
          </a:lstStyle>
          <a:p>
            <a:pPr lvl="0"/>
            <a:r>
              <a:rPr lang="en-US" dirty="0"/>
              <a:t>[Content]</a:t>
            </a:r>
            <a:endParaRPr lang="en-AU" dirty="0"/>
          </a:p>
        </p:txBody>
      </p:sp>
    </p:spTree>
    <p:extLst>
      <p:ext uri="{BB962C8B-B14F-4D97-AF65-F5344CB8AC3E}">
        <p14:creationId xmlns:p14="http://schemas.microsoft.com/office/powerpoint/2010/main" val="795934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30480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Red 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lvl1pPr>
              <a:defRPr>
                <a:solidFill>
                  <a:schemeClr val="accent2"/>
                </a:solidFill>
              </a:defRPr>
            </a:lvl1pPr>
          </a:lstStyle>
          <a:p>
            <a:r>
              <a:rPr lang="fr-FR"/>
              <a:t>Modifiez le style du titre</a:t>
            </a:r>
            <a:endParaRPr lang="en-AU" dirty="0"/>
          </a:p>
        </p:txBody>
      </p:sp>
    </p:spTree>
    <p:extLst>
      <p:ext uri="{BB962C8B-B14F-4D97-AF65-F5344CB8AC3E}">
        <p14:creationId xmlns:p14="http://schemas.microsoft.com/office/powerpoint/2010/main" val="353644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_//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418416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Pic &amp;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03950" y="1584000"/>
            <a:ext cx="5364049" cy="4776000"/>
          </a:xfrm>
          <a:noFill/>
        </p:spPr>
        <p:txBody>
          <a:bodyPr lIns="0" tIns="0" r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3"/>
                </a:solidFill>
              </a:defRPr>
            </a:lvl4pPr>
            <a:lvl5pPr>
              <a:defRPr>
                <a:solidFill>
                  <a:schemeClr val="accent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0" name="Picture Placeholder 8"/>
          <p:cNvSpPr>
            <a:spLocks noGrp="1"/>
          </p:cNvSpPr>
          <p:nvPr>
            <p:ph type="pic" sz="quarter" idx="16" hasCustomPrompt="1"/>
          </p:nvPr>
        </p:nvSpPr>
        <p:spPr>
          <a:xfrm>
            <a:off x="628800"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628800" y="4103759"/>
            <a:ext cx="53656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8" name="Date Placeholder 7"/>
          <p:cNvSpPr>
            <a:spLocks noGrp="1"/>
          </p:cNvSpPr>
          <p:nvPr>
            <p:ph type="dt" sz="half" idx="18"/>
          </p:nvPr>
        </p:nvSpPr>
        <p:spPr/>
        <p:txBody>
          <a:bodyPr/>
          <a:lstStyle/>
          <a:p>
            <a:endParaRPr lang="en-AU" dirty="0"/>
          </a:p>
        </p:txBody>
      </p:sp>
      <p:sp>
        <p:nvSpPr>
          <p:cNvPr id="9" name="Footer Placeholder 8"/>
          <p:cNvSpPr>
            <a:spLocks noGrp="1"/>
          </p:cNvSpPr>
          <p:nvPr>
            <p:ph type="ftr" sz="quarter" idx="19"/>
          </p:nvPr>
        </p:nvSpPr>
        <p:spPr/>
        <p:txBody>
          <a:bodyPr/>
          <a:lstStyle/>
          <a:p>
            <a:r>
              <a:rPr lang="en-US"/>
              <a:t>Unit Controller Call Series © Sodexo, July 2024.  All rights Reserved</a:t>
            </a:r>
            <a:endParaRPr lang="en-AU" dirty="0"/>
          </a:p>
        </p:txBody>
      </p:sp>
      <p:sp>
        <p:nvSpPr>
          <p:cNvPr id="12" name="Slide Number Placeholder 11"/>
          <p:cNvSpPr>
            <a:spLocks noGrp="1"/>
          </p:cNvSpPr>
          <p:nvPr>
            <p:ph type="sldNum" sz="quarter" idx="20"/>
          </p:nvPr>
        </p:nvSpPr>
        <p:spPr/>
        <p:txBody>
          <a:bodyPr/>
          <a:lstStyle/>
          <a:p>
            <a:fld id="{E917DE0E-AFB1-41FD-BC35-27DB61CA125F}" type="slidenum">
              <a:rPr lang="en-AU" smtClean="0"/>
              <a:pPr/>
              <a:t>‹#›</a:t>
            </a:fld>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9407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 Pic &amp; Content">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21387" y="1654175"/>
            <a:ext cx="5527147" cy="4675505"/>
          </a:xfrm>
          <a:noFill/>
          <a:ln w="38100">
            <a:solidFill>
              <a:schemeClr val="accent2"/>
            </a:solidFill>
            <a:miter lim="800000"/>
          </a:ln>
        </p:spPr>
        <p:txBody>
          <a:bodyPr lIns="144000" tIns="828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19391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 Pic &amp; Content 2">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0" y="1625600"/>
            <a:ext cx="2476800"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3336000" y="4128000"/>
            <a:ext cx="2438400" cy="2213533"/>
          </a:xfrm>
          <a:solidFill>
            <a:schemeClr val="accent3">
              <a:lumMod val="20000"/>
              <a:lumOff val="80000"/>
            </a:schemeClr>
          </a:solidFill>
          <a:ln w="38100">
            <a:solidFill>
              <a:schemeClr val="accent2"/>
            </a:solidFill>
            <a:miter lim="800000"/>
          </a:ln>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3321600" y="1625601"/>
            <a:ext cx="2474979"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05596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 Pic &amp; Content 3">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016201" y="1654175"/>
            <a:ext cx="5551800" cy="4675200"/>
          </a:xfrm>
          <a:noFill/>
          <a:ln w="38100">
            <a:solidFill>
              <a:schemeClr val="accent1"/>
            </a:solidFill>
            <a:miter lim="800000"/>
          </a:ln>
        </p:spPr>
        <p:txBody>
          <a:bodyPr lIns="154800" tIns="90000" rIns="154800" bIns="15480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3"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84868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3 Pic &amp; Content 4">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3"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14" name="Picture Placeholder 8"/>
          <p:cNvSpPr>
            <a:spLocks noGrp="1"/>
          </p:cNvSpPr>
          <p:nvPr>
            <p:ph type="pic" sz="quarter" idx="16" hasCustomPrompt="1"/>
          </p:nvPr>
        </p:nvSpPr>
        <p:spPr>
          <a:xfrm>
            <a:off x="628800" y="1625600"/>
            <a:ext cx="2476800"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7" hasCustomPrompt="1"/>
          </p:nvPr>
        </p:nvSpPr>
        <p:spPr>
          <a:xfrm>
            <a:off x="3336000" y="4128000"/>
            <a:ext cx="2438400" cy="2213533"/>
          </a:xfrm>
          <a:solidFill>
            <a:schemeClr val="accent3">
              <a:lumMod val="20000"/>
              <a:lumOff val="80000"/>
            </a:schemeClr>
          </a:solidFill>
          <a:ln w="38100">
            <a:solidFill>
              <a:schemeClr val="accent1"/>
            </a:solidFill>
            <a:miter lim="800000"/>
          </a:ln>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6" name="Picture Placeholder 8"/>
          <p:cNvSpPr>
            <a:spLocks noGrp="1"/>
          </p:cNvSpPr>
          <p:nvPr>
            <p:ph type="pic" sz="quarter" idx="18" hasCustomPrompt="1"/>
          </p:nvPr>
        </p:nvSpPr>
        <p:spPr>
          <a:xfrm>
            <a:off x="3321600" y="1625601"/>
            <a:ext cx="2474979"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2" name="Title 1"/>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45914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3 Pic &amp; Content 5">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Picture Placeholder 8"/>
          <p:cNvSpPr>
            <a:spLocks noGrp="1"/>
          </p:cNvSpPr>
          <p:nvPr>
            <p:ph type="pic" sz="quarter" idx="16" hasCustomPrompt="1"/>
          </p:nvPr>
        </p:nvSpPr>
        <p:spPr>
          <a:xfrm>
            <a:off x="628802" y="1625600"/>
            <a:ext cx="2476349"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17" hasCustomPrompt="1"/>
          </p:nvPr>
        </p:nvSpPr>
        <p:spPr>
          <a:xfrm>
            <a:off x="3322426" y="4106332"/>
            <a:ext cx="2476500"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5" name="Picture Placeholder 8"/>
          <p:cNvSpPr>
            <a:spLocks noGrp="1"/>
          </p:cNvSpPr>
          <p:nvPr>
            <p:ph type="pic" sz="quarter" idx="18" hasCustomPrompt="1"/>
          </p:nvPr>
        </p:nvSpPr>
        <p:spPr>
          <a:xfrm>
            <a:off x="3322426" y="1625601"/>
            <a:ext cx="2476501"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6" name="Content Placeholder 3"/>
          <p:cNvSpPr>
            <a:spLocks noGrp="1"/>
          </p:cNvSpPr>
          <p:nvPr>
            <p:ph sz="quarter" idx="11" hasCustomPrompt="1"/>
          </p:nvPr>
        </p:nvSpPr>
        <p:spPr>
          <a:xfrm>
            <a:off x="5994400" y="1544321"/>
            <a:ext cx="5573600" cy="4814145"/>
          </a:xfrm>
          <a:noFill/>
          <a:ln w="38100">
            <a:noFill/>
          </a:ln>
        </p:spPr>
        <p:txBody>
          <a:bodyPr lIns="0" tIns="0" rIns="0" bIns="0">
            <a:normAutofit/>
          </a:bodyPr>
          <a:lstStyle>
            <a:lvl1pPr marL="0" indent="0">
              <a:buNone/>
              <a:defRPr sz="2933" i="1">
                <a:solidFill>
                  <a:schemeClr val="accent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Enter text]</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75721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4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49"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6206400" y="1625601"/>
            <a:ext cx="5366400"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3" name="Picture Placeholder 8"/>
          <p:cNvSpPr>
            <a:spLocks noGrp="1"/>
          </p:cNvSpPr>
          <p:nvPr>
            <p:ph type="pic" sz="quarter" idx="19" hasCustomPrompt="1"/>
          </p:nvPr>
        </p:nvSpPr>
        <p:spPr>
          <a:xfrm>
            <a:off x="628648" y="4113775"/>
            <a:ext cx="5366400" cy="2244692"/>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20" hasCustomPrompt="1"/>
          </p:nvPr>
        </p:nvSpPr>
        <p:spPr>
          <a:xfrm>
            <a:off x="6206400" y="4113775"/>
            <a:ext cx="5366400" cy="2244692"/>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82032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6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30769" y="1625599"/>
            <a:ext cx="3507316"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Picture Placeholder 8"/>
          <p:cNvSpPr>
            <a:spLocks noGrp="1"/>
          </p:cNvSpPr>
          <p:nvPr>
            <p:ph type="pic" sz="quarter" idx="17" hasCustomPrompt="1"/>
          </p:nvPr>
        </p:nvSpPr>
        <p:spPr>
          <a:xfrm>
            <a:off x="630769" y="4114026"/>
            <a:ext cx="3507315" cy="2244441"/>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Picture Placeholder 8"/>
          <p:cNvSpPr>
            <a:spLocks noGrp="1"/>
          </p:cNvSpPr>
          <p:nvPr>
            <p:ph type="pic" sz="quarter" idx="18" hasCustomPrompt="1"/>
          </p:nvPr>
        </p:nvSpPr>
        <p:spPr>
          <a:xfrm>
            <a:off x="4343401" y="1625599"/>
            <a:ext cx="3509432" cy="22563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2" name="Picture Placeholder 8"/>
          <p:cNvSpPr>
            <a:spLocks noGrp="1"/>
          </p:cNvSpPr>
          <p:nvPr>
            <p:ph type="pic" sz="quarter" idx="19" hasCustomPrompt="1"/>
          </p:nvPr>
        </p:nvSpPr>
        <p:spPr>
          <a:xfrm>
            <a:off x="4343402" y="4114025"/>
            <a:ext cx="3509431"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3" name="Picture Placeholder 8"/>
          <p:cNvSpPr>
            <a:spLocks noGrp="1"/>
          </p:cNvSpPr>
          <p:nvPr>
            <p:ph type="pic" sz="quarter" idx="20" hasCustomPrompt="1"/>
          </p:nvPr>
        </p:nvSpPr>
        <p:spPr>
          <a:xfrm>
            <a:off x="8053917" y="1625598"/>
            <a:ext cx="3508783" cy="2256369"/>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4" name="Picture Placeholder 8"/>
          <p:cNvSpPr>
            <a:spLocks noGrp="1"/>
          </p:cNvSpPr>
          <p:nvPr>
            <p:ph type="pic" sz="quarter" idx="21" hasCustomPrompt="1"/>
          </p:nvPr>
        </p:nvSpPr>
        <p:spPr>
          <a:xfrm>
            <a:off x="8053917" y="4114025"/>
            <a:ext cx="3508783" cy="2256000"/>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84139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800" y="1625601"/>
            <a:ext cx="10939200" cy="4732865"/>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46902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Feature Content &amp; Char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2" y="1625600"/>
            <a:ext cx="4540249"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16" hasCustomPrompt="1"/>
          </p:nvPr>
        </p:nvSpPr>
        <p:spPr>
          <a:xfrm>
            <a:off x="5376334" y="1625600"/>
            <a:ext cx="6193365" cy="4732867"/>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92659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78026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Feature Content &amp; Charts">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1" y="1625600"/>
            <a:ext cx="5985933" cy="47328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1" name="Content Placeholder 9"/>
          <p:cNvSpPr>
            <a:spLocks noGrp="1"/>
          </p:cNvSpPr>
          <p:nvPr>
            <p:ph sz="quarter" idx="16" hasCustomPrompt="1"/>
          </p:nvPr>
        </p:nvSpPr>
        <p:spPr>
          <a:xfrm>
            <a:off x="6819900" y="1625600"/>
            <a:ext cx="2270400" cy="2027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2" name="Content Placeholder 9"/>
          <p:cNvSpPr>
            <a:spLocks noGrp="1"/>
          </p:cNvSpPr>
          <p:nvPr>
            <p:ph sz="quarter" idx="17" hasCustomPrompt="1"/>
          </p:nvPr>
        </p:nvSpPr>
        <p:spPr>
          <a:xfrm>
            <a:off x="9299300" y="1627200"/>
            <a:ext cx="2270400" cy="20304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Content Placeholder 9"/>
          <p:cNvSpPr>
            <a:spLocks noGrp="1"/>
          </p:cNvSpPr>
          <p:nvPr>
            <p:ph sz="quarter" idx="18" hasCustomPrompt="1"/>
          </p:nvPr>
        </p:nvSpPr>
        <p:spPr>
          <a:xfrm>
            <a:off x="6819900" y="3881967"/>
            <a:ext cx="1444800"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5" name="Content Placeholder 9"/>
          <p:cNvSpPr>
            <a:spLocks noGrp="1"/>
          </p:cNvSpPr>
          <p:nvPr>
            <p:ph sz="quarter" idx="19" hasCustomPrompt="1"/>
          </p:nvPr>
        </p:nvSpPr>
        <p:spPr>
          <a:xfrm>
            <a:off x="8475129" y="3881967"/>
            <a:ext cx="1443571"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6" name="Content Placeholder 9"/>
          <p:cNvSpPr>
            <a:spLocks noGrp="1"/>
          </p:cNvSpPr>
          <p:nvPr>
            <p:ph sz="quarter" idx="20" hasCustomPrompt="1"/>
          </p:nvPr>
        </p:nvSpPr>
        <p:spPr>
          <a:xfrm>
            <a:off x="10121900" y="3881967"/>
            <a:ext cx="1444800" cy="24765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4"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77025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meline Chart">
    <p:spTree>
      <p:nvGrpSpPr>
        <p:cNvPr id="1" name=""/>
        <p:cNvGrpSpPr/>
        <p:nvPr/>
      </p:nvGrpSpPr>
      <p:grpSpPr>
        <a:xfrm>
          <a:off x="0" y="0"/>
          <a:ext cx="0" cy="0"/>
          <a:chOff x="0" y="0"/>
          <a:chExt cx="0" cy="0"/>
        </a:xfrm>
      </p:grpSpPr>
      <p:sp>
        <p:nvSpPr>
          <p:cNvPr id="11" name="Content Placeholder 9"/>
          <p:cNvSpPr>
            <a:spLocks noGrp="1"/>
          </p:cNvSpPr>
          <p:nvPr>
            <p:ph sz="quarter" idx="16" hasCustomPrompt="1"/>
          </p:nvPr>
        </p:nvSpPr>
        <p:spPr>
          <a:xfrm>
            <a:off x="628800" y="1625600"/>
            <a:ext cx="10939200" cy="4732867"/>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4" name="Content Placeholder 3"/>
          <p:cNvSpPr>
            <a:spLocks noGrp="1"/>
          </p:cNvSpPr>
          <p:nvPr>
            <p:ph sz="quarter" idx="11"/>
          </p:nvPr>
        </p:nvSpPr>
        <p:spPr>
          <a:xfrm>
            <a:off x="7450668" y="4330701"/>
            <a:ext cx="4119033" cy="2027767"/>
          </a:xfrm>
          <a:solidFill>
            <a:schemeClr val="accent1"/>
          </a:solidFill>
        </p:spPr>
        <p:txBody>
          <a:bodyPr lIns="154800" tIns="1260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82125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6 Charts">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2" name="Content Placeholder 9"/>
          <p:cNvSpPr>
            <a:spLocks noGrp="1"/>
          </p:cNvSpPr>
          <p:nvPr>
            <p:ph sz="quarter" idx="17" hasCustomPrompt="1"/>
          </p:nvPr>
        </p:nvSpPr>
        <p:spPr>
          <a:xfrm>
            <a:off x="9296400" y="1627197"/>
            <a:ext cx="2257477"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7" name="Content Placeholder 9"/>
          <p:cNvSpPr>
            <a:spLocks noGrp="1"/>
          </p:cNvSpPr>
          <p:nvPr>
            <p:ph sz="quarter" idx="19" hasCustomPrompt="1"/>
          </p:nvPr>
        </p:nvSpPr>
        <p:spPr>
          <a:xfrm>
            <a:off x="9312225" y="4108800"/>
            <a:ext cx="2257476"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8" name="Content Placeholder 9"/>
          <p:cNvSpPr>
            <a:spLocks noGrp="1"/>
          </p:cNvSpPr>
          <p:nvPr>
            <p:ph sz="quarter" idx="20" hasCustomPrompt="1"/>
          </p:nvPr>
        </p:nvSpPr>
        <p:spPr>
          <a:xfrm>
            <a:off x="646724" y="1627197"/>
            <a:ext cx="2889600" cy="4731269"/>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9" name="Content Placeholder 9"/>
          <p:cNvSpPr>
            <a:spLocks noGrp="1"/>
          </p:cNvSpPr>
          <p:nvPr>
            <p:ph sz="quarter" idx="21" hasCustomPrompt="1"/>
          </p:nvPr>
        </p:nvSpPr>
        <p:spPr>
          <a:xfrm>
            <a:off x="3725335" y="1627197"/>
            <a:ext cx="2889251" cy="4731269"/>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20" name="Content Placeholder 9"/>
          <p:cNvSpPr>
            <a:spLocks noGrp="1"/>
          </p:cNvSpPr>
          <p:nvPr>
            <p:ph sz="quarter" idx="22" hasCustomPrompt="1"/>
          </p:nvPr>
        </p:nvSpPr>
        <p:spPr>
          <a:xfrm>
            <a:off x="6836059" y="1627197"/>
            <a:ext cx="2257141"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21" name="Content Placeholder 9"/>
          <p:cNvSpPr>
            <a:spLocks noGrp="1"/>
          </p:cNvSpPr>
          <p:nvPr>
            <p:ph sz="quarter" idx="23" hasCustomPrompt="1"/>
          </p:nvPr>
        </p:nvSpPr>
        <p:spPr>
          <a:xfrm>
            <a:off x="6836059" y="4106332"/>
            <a:ext cx="2257141" cy="2256000"/>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24158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20" name="Content Placeholder 9"/>
          <p:cNvSpPr>
            <a:spLocks noGrp="1"/>
          </p:cNvSpPr>
          <p:nvPr>
            <p:ph sz="quarter" idx="22" hasCustomPrompt="1"/>
          </p:nvPr>
        </p:nvSpPr>
        <p:spPr>
          <a:xfrm>
            <a:off x="6423703" y="2298702"/>
            <a:ext cx="5145997" cy="4059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8" name="Content Placeholder 9"/>
          <p:cNvSpPr>
            <a:spLocks noGrp="1"/>
          </p:cNvSpPr>
          <p:nvPr>
            <p:ph sz="quarter" idx="20" hasCustomPrompt="1"/>
          </p:nvPr>
        </p:nvSpPr>
        <p:spPr>
          <a:xfrm>
            <a:off x="643087" y="2298700"/>
            <a:ext cx="2681816" cy="4059768"/>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9" name="Content Placeholder 9"/>
          <p:cNvSpPr>
            <a:spLocks noGrp="1"/>
          </p:cNvSpPr>
          <p:nvPr>
            <p:ph sz="quarter" idx="21" hasCustomPrompt="1"/>
          </p:nvPr>
        </p:nvSpPr>
        <p:spPr>
          <a:xfrm>
            <a:off x="3532335" y="2298702"/>
            <a:ext cx="2683935" cy="4059765"/>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13" name="Text Placeholder 8"/>
          <p:cNvSpPr>
            <a:spLocks noGrp="1"/>
          </p:cNvSpPr>
          <p:nvPr>
            <p:ph type="body" sz="quarter" idx="23" hasCustomPrompt="1"/>
          </p:nvPr>
        </p:nvSpPr>
        <p:spPr>
          <a:xfrm>
            <a:off x="628651" y="1818105"/>
            <a:ext cx="5587620" cy="258348"/>
          </a:xfrm>
        </p:spPr>
        <p:txBody>
          <a:bodyPr>
            <a:normAutofit/>
          </a:bodyPr>
          <a:lstStyle>
            <a:lvl1pPr marL="0" indent="0">
              <a:buNone/>
              <a:defRPr sz="2000" b="1">
                <a:solidFill>
                  <a:schemeClr val="accent3"/>
                </a:solidFill>
              </a:defRPr>
            </a:lvl1pPr>
          </a:lstStyle>
          <a:p>
            <a:pPr lvl="0"/>
            <a:r>
              <a:rPr lang="en-US" dirty="0"/>
              <a:t>[Chart title]</a:t>
            </a:r>
          </a:p>
        </p:txBody>
      </p:sp>
      <p:sp>
        <p:nvSpPr>
          <p:cNvPr id="14" name="Text Placeholder 8"/>
          <p:cNvSpPr>
            <a:spLocks noGrp="1"/>
          </p:cNvSpPr>
          <p:nvPr>
            <p:ph type="body" sz="quarter" idx="24" hasCustomPrompt="1"/>
          </p:nvPr>
        </p:nvSpPr>
        <p:spPr>
          <a:xfrm>
            <a:off x="6423703" y="1818105"/>
            <a:ext cx="5145996" cy="258348"/>
          </a:xfrm>
        </p:spPr>
        <p:txBody>
          <a:bodyPr>
            <a:normAutofit/>
          </a:bodyPr>
          <a:lstStyle>
            <a:lvl1pPr marL="0" indent="0">
              <a:buNone/>
              <a:defRPr sz="2000" b="1">
                <a:solidFill>
                  <a:schemeClr val="accent3"/>
                </a:solidFill>
              </a:defRPr>
            </a:lvl1pPr>
          </a:lstStyle>
          <a:p>
            <a:pPr lvl="0"/>
            <a:r>
              <a:rPr lang="en-US" dirty="0"/>
              <a:t>[Chart title]</a:t>
            </a:r>
          </a:p>
        </p:txBody>
      </p:sp>
      <p:sp>
        <p:nvSpPr>
          <p:cNvPr id="12"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420892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Unit Controller Call Series © Sodexo, July 2024.  All rights Reserved</a:t>
            </a:r>
            <a:endParaRPr lang="en-AU" dirty="0"/>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dirty="0"/>
          </a:p>
        </p:txBody>
      </p:sp>
      <p:sp>
        <p:nvSpPr>
          <p:cNvPr id="5" name="Date Placeholder 4"/>
          <p:cNvSpPr>
            <a:spLocks noGrp="1"/>
          </p:cNvSpPr>
          <p:nvPr>
            <p:ph type="dt" sz="half" idx="12"/>
          </p:nvPr>
        </p:nvSpPr>
        <p:spPr/>
        <p:txBody>
          <a:bodyPr/>
          <a:lstStyle/>
          <a:p>
            <a:endParaRPr lang="en-AU" dirty="0"/>
          </a:p>
        </p:txBody>
      </p:sp>
      <p:sp>
        <p:nvSpPr>
          <p:cNvPr id="7" name="Content Placeholder 6"/>
          <p:cNvSpPr>
            <a:spLocks noGrp="1"/>
          </p:cNvSpPr>
          <p:nvPr>
            <p:ph sz="quarter" idx="13"/>
          </p:nvPr>
        </p:nvSpPr>
        <p:spPr>
          <a:xfrm>
            <a:off x="628651" y="1572128"/>
            <a:ext cx="10941048" cy="726573"/>
          </a:xfrm>
        </p:spPr>
        <p:txBody>
          <a:bodyPr/>
          <a:lstStyle/>
          <a:p>
            <a:pPr lvl="0"/>
            <a:r>
              <a:rPr lang="fr-FR"/>
              <a:t>Modifiez les styles du texte du masque</a:t>
            </a:r>
          </a:p>
        </p:txBody>
      </p:sp>
      <p:sp>
        <p:nvSpPr>
          <p:cNvPr id="8" name="Content Placeholder 9"/>
          <p:cNvSpPr>
            <a:spLocks noGrp="1"/>
          </p:cNvSpPr>
          <p:nvPr>
            <p:ph sz="quarter" idx="22" hasCustomPrompt="1"/>
          </p:nvPr>
        </p:nvSpPr>
        <p:spPr>
          <a:xfrm>
            <a:off x="628652" y="2516899"/>
            <a:ext cx="10941048" cy="3841568"/>
          </a:xfrm>
        </p:spPr>
        <p:txBody>
          <a:bodyPr>
            <a:normAutofit/>
          </a:bodyPr>
          <a:lstStyle>
            <a:lvl1pPr marL="0" indent="0" algn="ctr">
              <a:buNone/>
              <a:defRPr sz="1467">
                <a:solidFill>
                  <a:schemeClr val="accent1"/>
                </a:solidFill>
              </a:defRPr>
            </a:lvl1pPr>
          </a:lstStyle>
          <a:p>
            <a:pPr lvl="0"/>
            <a:r>
              <a:rPr lang="en-US" dirty="0"/>
              <a:t>[Content]</a:t>
            </a:r>
            <a:endParaRPr lang="en-AU" dirty="0"/>
          </a:p>
        </p:txBody>
      </p:sp>
      <p:sp>
        <p:nvSpPr>
          <p:cNvPr id="6" name="Title 5"/>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51644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3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628650" y="1625600"/>
            <a:ext cx="10941049" cy="1803400"/>
          </a:xfrm>
          <a:solidFill>
            <a:schemeClr val="accent1"/>
          </a:solidFill>
        </p:spPr>
        <p:txBody>
          <a:bodyPr lIns="154800" tIns="126000" rIns="154800" bIns="1548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4" name="Content Placeholder 3"/>
          <p:cNvSpPr>
            <a:spLocks noGrp="1"/>
          </p:cNvSpPr>
          <p:nvPr>
            <p:ph sz="quarter" idx="21"/>
          </p:nvPr>
        </p:nvSpPr>
        <p:spPr>
          <a:xfrm>
            <a:off x="628651" y="3655173"/>
            <a:ext cx="5575300" cy="2703295"/>
          </a:xfrm>
          <a:custGeom>
            <a:avLst/>
            <a:gdLst>
              <a:gd name="connsiteX0" fmla="*/ 0 w 4217664"/>
              <a:gd name="connsiteY0" fmla="*/ 0 h 2052227"/>
              <a:gd name="connsiteX1" fmla="*/ 3191551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191551 w 4217664"/>
              <a:gd name="connsiteY3" fmla="*/ 2052227 h 2052227"/>
              <a:gd name="connsiteX4" fmla="*/ 0 w 4217664"/>
              <a:gd name="connsiteY4" fmla="*/ 2052227 h 2052227"/>
              <a:gd name="connsiteX5" fmla="*/ 0 w 4217664"/>
              <a:gd name="connsiteY5" fmla="*/ 0 h 2052227"/>
              <a:gd name="connsiteX0" fmla="*/ 0 w 4217664"/>
              <a:gd name="connsiteY0" fmla="*/ 0 h 2052227"/>
              <a:gd name="connsiteX1" fmla="*/ 3918914 w 4217664"/>
              <a:gd name="connsiteY1" fmla="*/ 0 h 2052227"/>
              <a:gd name="connsiteX2" fmla="*/ 4217664 w 4217664"/>
              <a:gd name="connsiteY2" fmla="*/ 1026114 h 2052227"/>
              <a:gd name="connsiteX3" fmla="*/ 3918914 w 4217664"/>
              <a:gd name="connsiteY3" fmla="*/ 2041836 h 2052227"/>
              <a:gd name="connsiteX4" fmla="*/ 0 w 4217664"/>
              <a:gd name="connsiteY4" fmla="*/ 2052227 h 2052227"/>
              <a:gd name="connsiteX5" fmla="*/ 0 w 4217664"/>
              <a:gd name="connsiteY5" fmla="*/ 0 h 205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7664" h="2052227">
                <a:moveTo>
                  <a:pt x="0" y="0"/>
                </a:moveTo>
                <a:lnTo>
                  <a:pt x="3918914" y="0"/>
                </a:lnTo>
                <a:lnTo>
                  <a:pt x="4217664" y="1026114"/>
                </a:lnTo>
                <a:lnTo>
                  <a:pt x="3918914" y="2041836"/>
                </a:lnTo>
                <a:lnTo>
                  <a:pt x="0" y="2052227"/>
                </a:lnTo>
                <a:lnTo>
                  <a:pt x="0" y="0"/>
                </a:lnTo>
                <a:close/>
              </a:path>
            </a:pathLst>
          </a:custGeo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17" name="Content Placeholder 3"/>
          <p:cNvSpPr>
            <a:spLocks noGrp="1"/>
          </p:cNvSpPr>
          <p:nvPr>
            <p:ph sz="quarter" idx="22"/>
          </p:nvPr>
        </p:nvSpPr>
        <p:spPr>
          <a:xfrm>
            <a:off x="6407151" y="3655173"/>
            <a:ext cx="5162548" cy="2703295"/>
          </a:xfrm>
          <a:solidFill>
            <a:schemeClr val="accent2"/>
          </a:solidFill>
        </p:spPr>
        <p:txBody>
          <a:bodyPr lIns="180000" tIns="180000" rIns="180000" bIns="180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p:txBody>
      </p:sp>
      <p:sp>
        <p:nvSpPr>
          <p:cNvPr id="10"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122859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Content Placeholder 3"/>
          <p:cNvSpPr>
            <a:spLocks noGrp="1"/>
          </p:cNvSpPr>
          <p:nvPr>
            <p:ph sz="quarter" idx="11" hasCustomPrompt="1"/>
          </p:nvPr>
        </p:nvSpPr>
        <p:spPr>
          <a:xfrm>
            <a:off x="628651" y="1625600"/>
            <a:ext cx="5365749" cy="4732867"/>
          </a:xfrm>
          <a:solidFill>
            <a:schemeClr val="accent1"/>
          </a:solidFill>
          <a:ln w="38100">
            <a:noFill/>
          </a:ln>
        </p:spPr>
        <p:txBody>
          <a:bodyPr lIns="154800" tIns="111600" rIns="154800" bIns="154800">
            <a:normAutofit/>
          </a:bodyPr>
          <a:lstStyle>
            <a:lvl1pPr marL="0" indent="0">
              <a:buNone/>
              <a:defRPr sz="2933" i="1" baseline="0">
                <a:solidFill>
                  <a:schemeClr val="bg1"/>
                </a:solidFill>
              </a:defRPr>
            </a:lvl1pPr>
            <a:lvl2pPr>
              <a:defRPr sz="2667">
                <a:solidFill>
                  <a:schemeClr val="accent1"/>
                </a:solidFill>
              </a:defRPr>
            </a:lvl2pPr>
            <a:lvl3pPr>
              <a:defRPr sz="2667">
                <a:solidFill>
                  <a:schemeClr val="accent1"/>
                </a:solidFill>
              </a:defRPr>
            </a:lvl3pPr>
            <a:lvl4pPr>
              <a:defRPr>
                <a:solidFill>
                  <a:schemeClr val="accent3"/>
                </a:solidFill>
              </a:defRPr>
            </a:lvl4pPr>
            <a:lvl5pPr>
              <a:defRPr>
                <a:solidFill>
                  <a:schemeClr val="accent2"/>
                </a:solidFill>
              </a:defRPr>
            </a:lvl5pPr>
          </a:lstStyle>
          <a:p>
            <a:pPr lvl="0"/>
            <a:r>
              <a:rPr lang="en-US" dirty="0"/>
              <a:t>[Quote text]</a:t>
            </a:r>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2" name="Content Placeholder 11"/>
          <p:cNvSpPr>
            <a:spLocks noGrp="1"/>
          </p:cNvSpPr>
          <p:nvPr>
            <p:ph sz="quarter" idx="15" hasCustomPrompt="1"/>
          </p:nvPr>
        </p:nvSpPr>
        <p:spPr>
          <a:xfrm>
            <a:off x="836085" y="5903399"/>
            <a:ext cx="4953000" cy="396373"/>
          </a:xfrm>
        </p:spPr>
        <p:txBody>
          <a:bodyPr/>
          <a:lstStyle>
            <a:lvl1pPr marL="0" indent="0">
              <a:buNone/>
              <a:tabLst>
                <a:tab pos="124881" algn="l"/>
              </a:tabLst>
              <a:defRPr b="1">
                <a:solidFill>
                  <a:schemeClr val="bg1"/>
                </a:solidFill>
              </a:defRPr>
            </a:lvl1pPr>
          </a:lstStyle>
          <a:p>
            <a:pPr lvl="0"/>
            <a:r>
              <a:rPr lang="en-US" dirty="0"/>
              <a:t>[Name]</a:t>
            </a:r>
          </a:p>
        </p:txBody>
      </p:sp>
      <p:sp>
        <p:nvSpPr>
          <p:cNvPr id="13" name="TextBox 12"/>
          <p:cNvSpPr txBox="1"/>
          <p:nvPr userDrawn="1"/>
        </p:nvSpPr>
        <p:spPr>
          <a:xfrm>
            <a:off x="6203952" y="1627199"/>
            <a:ext cx="2061633" cy="2097947"/>
          </a:xfrm>
          <a:prstGeom prst="rect">
            <a:avLst/>
          </a:prstGeom>
          <a:solidFill>
            <a:schemeClr val="accent2"/>
          </a:solidFill>
        </p:spPr>
        <p:txBody>
          <a:bodyPr wrap="square" rtlCol="0">
            <a:spAutoFit/>
          </a:bodyPr>
          <a:lstStyle/>
          <a:p>
            <a:pPr algn="ctr">
              <a:lnSpc>
                <a:spcPct val="85000"/>
              </a:lnSpc>
            </a:pPr>
            <a:r>
              <a:rPr lang="en-AU" sz="2400" dirty="0">
                <a:solidFill>
                  <a:schemeClr val="bg1"/>
                </a:solidFill>
              </a:rPr>
              <a:t> </a:t>
            </a:r>
            <a:r>
              <a:rPr lang="en-AU" sz="15333" dirty="0">
                <a:solidFill>
                  <a:schemeClr val="bg1"/>
                </a:solidFill>
              </a:rPr>
              <a:t>“”</a:t>
            </a:r>
            <a:endParaRPr lang="en-AU" sz="2400" dirty="0">
              <a:solidFill>
                <a:schemeClr val="bg1"/>
              </a:solidFill>
            </a:endParaRPr>
          </a:p>
        </p:txBody>
      </p:sp>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244674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brand Content 1">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p:txBody>
          <a:bodyPr/>
          <a:lstStyle/>
          <a:p>
            <a:r>
              <a:rPr lang="fr-FR"/>
              <a:t>Modifiez le style du titre</a:t>
            </a:r>
            <a:endParaRPr lang="en-AU"/>
          </a:p>
        </p:txBody>
      </p:sp>
      <p:sp>
        <p:nvSpPr>
          <p:cNvPr id="2" name="Rectangle 1"/>
          <p:cNvSpPr/>
          <p:nvPr userDrawn="1"/>
        </p:nvSpPr>
        <p:spPr>
          <a:xfrm>
            <a:off x="628650" y="1625600"/>
            <a:ext cx="3096684" cy="47328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a:p>
        </p:txBody>
      </p:sp>
      <p:sp>
        <p:nvSpPr>
          <p:cNvPr id="10" name="Picture Placeholder 8"/>
          <p:cNvSpPr>
            <a:spLocks noGrp="1"/>
          </p:cNvSpPr>
          <p:nvPr>
            <p:ph type="pic" sz="quarter" idx="16" hasCustomPrompt="1"/>
          </p:nvPr>
        </p:nvSpPr>
        <p:spPr>
          <a:xfrm>
            <a:off x="841171" y="2527300"/>
            <a:ext cx="2683933" cy="2925235"/>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11" name="Content Placeholder 3"/>
          <p:cNvSpPr>
            <a:spLocks noGrp="1"/>
          </p:cNvSpPr>
          <p:nvPr>
            <p:ph sz="quarter" idx="11"/>
          </p:nvPr>
        </p:nvSpPr>
        <p:spPr>
          <a:xfrm>
            <a:off x="3937855" y="1625601"/>
            <a:ext cx="7629996"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Tree>
    <p:extLst>
      <p:ext uri="{BB962C8B-B14F-4D97-AF65-F5344CB8AC3E}">
        <p14:creationId xmlns:p14="http://schemas.microsoft.com/office/powerpoint/2010/main" val="231619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brand Content 2">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5" name="Date Placeholder 4"/>
          <p:cNvSpPr>
            <a:spLocks noGrp="1"/>
          </p:cNvSpPr>
          <p:nvPr>
            <p:ph type="dt" sz="half" idx="12"/>
          </p:nvPr>
        </p:nvSpPr>
        <p:spPr/>
        <p:txBody>
          <a:bodyPr/>
          <a:lstStyle/>
          <a:p>
            <a:endParaRPr lang="en-AU" dirty="0"/>
          </a:p>
        </p:txBody>
      </p:sp>
      <p:sp>
        <p:nvSpPr>
          <p:cNvPr id="6" name="Footer Placeholder 5"/>
          <p:cNvSpPr>
            <a:spLocks noGrp="1"/>
          </p:cNvSpPr>
          <p:nvPr>
            <p:ph type="ftr" sz="quarter" idx="13"/>
          </p:nvPr>
        </p:nvSpPr>
        <p:spPr/>
        <p:txBody>
          <a:bodyPr/>
          <a:lstStyle/>
          <a:p>
            <a:r>
              <a:rPr lang="en-US"/>
              <a:t>Unit Controller Call Series © Sodexo, July 2024.  All rights Reserved</a:t>
            </a:r>
            <a:endParaRPr lang="en-AU" dirty="0"/>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dirty="0"/>
          </a:p>
        </p:txBody>
      </p:sp>
      <p:sp>
        <p:nvSpPr>
          <p:cNvPr id="10" name="Picture Placeholder 8"/>
          <p:cNvSpPr>
            <a:spLocks noGrp="1"/>
          </p:cNvSpPr>
          <p:nvPr>
            <p:ph type="pic" sz="quarter" idx="16" hasCustomPrompt="1"/>
          </p:nvPr>
        </p:nvSpPr>
        <p:spPr>
          <a:xfrm>
            <a:off x="628651" y="1625600"/>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dirty="0"/>
              <a:t>[Click icon to add picture]</a:t>
            </a:r>
            <a:br>
              <a:rPr lang="en-AU" dirty="0"/>
            </a:br>
            <a:br>
              <a:rPr lang="en-AU" dirty="0"/>
            </a:br>
            <a:br>
              <a:rPr lang="en-AU" dirty="0"/>
            </a:br>
            <a:br>
              <a:rPr lang="en-AU" dirty="0"/>
            </a:br>
            <a:endParaRPr lang="en-AU" dirty="0"/>
          </a:p>
        </p:txBody>
      </p:sp>
      <p:sp>
        <p:nvSpPr>
          <p:cNvPr id="9" name="Text Placeholder 8"/>
          <p:cNvSpPr>
            <a:spLocks noGrp="1"/>
          </p:cNvSpPr>
          <p:nvPr>
            <p:ph type="body" sz="quarter" idx="15" hasCustomPrompt="1"/>
          </p:nvPr>
        </p:nvSpPr>
        <p:spPr>
          <a:xfrm>
            <a:off x="628801" y="945600"/>
            <a:ext cx="9699044" cy="289560"/>
          </a:xfrm>
        </p:spPr>
        <p:txBody>
          <a:bodyPr>
            <a:normAutofit/>
          </a:bodyPr>
          <a:lstStyle>
            <a:lvl1pPr marL="0" indent="0">
              <a:buNone/>
              <a:defRPr sz="2267" b="1">
                <a:solidFill>
                  <a:schemeClr val="accent3"/>
                </a:solidFill>
              </a:defRPr>
            </a:lvl1pPr>
          </a:lstStyle>
          <a:p>
            <a:pPr lvl="0"/>
            <a:r>
              <a:rPr lang="en-US" dirty="0"/>
              <a:t>[Subtitle]</a:t>
            </a:r>
          </a:p>
        </p:txBody>
      </p:sp>
      <p:sp>
        <p:nvSpPr>
          <p:cNvPr id="3" name="Title 2"/>
          <p:cNvSpPr>
            <a:spLocks noGrp="1"/>
          </p:cNvSpPr>
          <p:nvPr>
            <p:ph type="title"/>
          </p:nvPr>
        </p:nvSpPr>
        <p:spPr>
          <a:xfrm>
            <a:off x="628650" y="403200"/>
            <a:ext cx="9700684" cy="542400"/>
          </a:xfrm>
        </p:spPr>
        <p:txBody>
          <a:bodyPr/>
          <a:lstStyle/>
          <a:p>
            <a:r>
              <a:rPr lang="fr-FR"/>
              <a:t>Modifiez le style du titre</a:t>
            </a:r>
            <a:endParaRPr lang="en-AU"/>
          </a:p>
        </p:txBody>
      </p:sp>
      <p:sp>
        <p:nvSpPr>
          <p:cNvPr id="8" name="Picture Placeholder 7"/>
          <p:cNvSpPr>
            <a:spLocks noGrp="1"/>
          </p:cNvSpPr>
          <p:nvPr>
            <p:ph type="pic" sz="quarter" idx="17" hasCustomPrompt="1"/>
          </p:nvPr>
        </p:nvSpPr>
        <p:spPr>
          <a:xfrm>
            <a:off x="10329333" y="495299"/>
            <a:ext cx="1238251" cy="739861"/>
          </a:xfrm>
        </p:spPr>
        <p:txBody>
          <a:bodyPr/>
          <a:lstStyle>
            <a:lvl1pPr marL="0" indent="0" algn="ctr">
              <a:buNone/>
              <a:defRPr/>
            </a:lvl1pPr>
          </a:lstStyle>
          <a:p>
            <a:r>
              <a:rPr lang="en-US" dirty="0"/>
              <a:t>[Logo]</a:t>
            </a:r>
            <a:endParaRPr lang="en-AU" dirty="0"/>
          </a:p>
        </p:txBody>
      </p:sp>
    </p:spTree>
    <p:extLst>
      <p:ext uri="{BB962C8B-B14F-4D97-AF65-F5344CB8AC3E}">
        <p14:creationId xmlns:p14="http://schemas.microsoft.com/office/powerpoint/2010/main" val="105427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Modifiez le style du titre</a:t>
            </a:r>
            <a:endParaRPr lang="en-AU"/>
          </a:p>
        </p:txBody>
      </p:sp>
    </p:spTree>
    <p:extLst>
      <p:ext uri="{BB962C8B-B14F-4D97-AF65-F5344CB8AC3E}">
        <p14:creationId xmlns:p14="http://schemas.microsoft.com/office/powerpoint/2010/main" val="347823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63534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Rectangle 4"/>
          <p:cNvSpPr/>
          <p:nvPr userDrawn="1"/>
        </p:nvSpPr>
        <p:spPr>
          <a:xfrm>
            <a:off x="0" y="442001"/>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2400"/>
          </a:p>
        </p:txBody>
      </p:sp>
      <p:sp>
        <p:nvSpPr>
          <p:cNvPr id="3" name="Rectangle 2"/>
          <p:cNvSpPr/>
          <p:nvPr userDrawn="1"/>
        </p:nvSpPr>
        <p:spPr>
          <a:xfrm>
            <a:off x="0" y="5805264"/>
            <a:ext cx="12192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rtlCol="0" anchor="ctr"/>
          <a:lstStyle/>
          <a:p>
            <a:pPr algn="ctr"/>
            <a:endParaRPr lang="en-AU" sz="2400"/>
          </a:p>
        </p:txBody>
      </p:sp>
    </p:spTree>
    <p:extLst>
      <p:ext uri="{BB962C8B-B14F-4D97-AF65-F5344CB8AC3E}">
        <p14:creationId xmlns:p14="http://schemas.microsoft.com/office/powerpoint/2010/main" val="13155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Full Slide Image / Colour Layout">
    <p:spTree>
      <p:nvGrpSpPr>
        <p:cNvPr id="1" name=""/>
        <p:cNvGrpSpPr/>
        <p:nvPr/>
      </p:nvGrpSpPr>
      <p:grpSpPr>
        <a:xfrm>
          <a:off x="0" y="0"/>
          <a:ext cx="0" cy="0"/>
          <a:chOff x="0" y="0"/>
          <a:chExt cx="0" cy="0"/>
        </a:xfrm>
      </p:grpSpPr>
      <p:sp>
        <p:nvSpPr>
          <p:cNvPr id="10" name="Picture Placeholder 5"/>
          <p:cNvSpPr>
            <a:spLocks noGrp="1"/>
          </p:cNvSpPr>
          <p:nvPr>
            <p:ph type="pic" sz="quarter" idx="12" hasCustomPrompt="1"/>
          </p:nvPr>
        </p:nvSpPr>
        <p:spPr>
          <a:xfrm>
            <a:off x="0" y="0"/>
            <a:ext cx="12192000" cy="6858000"/>
          </a:xfrm>
          <a:solidFill>
            <a:schemeClr val="accent3">
              <a:lumMod val="20000"/>
              <a:lumOff val="80000"/>
            </a:schemeClr>
          </a:solidFill>
        </p:spPr>
        <p:txBody>
          <a:bodyPr anchor="ctr">
            <a:noAutofit/>
          </a:bodyPr>
          <a:lstStyle>
            <a:lvl1pPr marL="0" indent="0" algn="ctr">
              <a:spcBef>
                <a:spcPts val="0"/>
              </a:spcBef>
              <a:spcAft>
                <a:spcPts val="0"/>
              </a:spcAft>
              <a:buNone/>
              <a:defRPr sz="1733" baseline="0"/>
            </a:lvl1pPr>
          </a:lstStyle>
          <a:p>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br>
              <a:rPr lang="en-AU" dirty="0"/>
            </a:br>
            <a:endParaRPr lang="en-AU" dirty="0"/>
          </a:p>
        </p:txBody>
      </p:sp>
    </p:spTree>
    <p:extLst>
      <p:ext uri="{BB962C8B-B14F-4D97-AF65-F5344CB8AC3E}">
        <p14:creationId xmlns:p14="http://schemas.microsoft.com/office/powerpoint/2010/main" val="321692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cSld name="Title_only">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tIns="126000" bIns="90000"/>
          <a:lstStyle>
            <a:lvl1pPr>
              <a:defRPr lang="fr-FR" dirty="0"/>
            </a:lvl1pPr>
          </a:lstStyle>
          <a:p>
            <a:pPr lvl="0"/>
            <a:r>
              <a:rPr lang="fr-FR"/>
              <a:t>Modifiez le style du titre</a:t>
            </a:r>
            <a:endParaRPr lang="fr-FR" dirty="0"/>
          </a:p>
        </p:txBody>
      </p:sp>
      <p:sp>
        <p:nvSpPr>
          <p:cNvPr id="3" name="Espace réservé du numéro de diapositive 2"/>
          <p:cNvSpPr>
            <a:spLocks noGrp="1"/>
          </p:cNvSpPr>
          <p:nvPr>
            <p:ph type="sldNum" sz="quarter" idx="10"/>
          </p:nvPr>
        </p:nvSpPr>
        <p:spPr/>
        <p:txBody>
          <a:bodyPr/>
          <a:lstStyle>
            <a:lvl1pPr>
              <a:buFont typeface="Arial" pitchFamily="34" charset="0"/>
              <a:buNone/>
              <a:defRPr/>
            </a:lvl1pPr>
          </a:lstStyle>
          <a:p>
            <a:pPr>
              <a:buClr>
                <a:srgbClr val="FF3333"/>
              </a:buClr>
              <a:defRPr/>
            </a:pPr>
            <a:fld id="{53657DDE-6030-4CFF-9AA0-6BD67EC26A96}" type="slidenum">
              <a:rPr lang="en-US">
                <a:solidFill>
                  <a:srgbClr val="000000"/>
                </a:solidFill>
              </a:rPr>
              <a:pPr>
                <a:buClr>
                  <a:srgbClr val="FF3333"/>
                </a:buClr>
                <a:defRPr/>
              </a:pPr>
              <a:t>‹#›</a:t>
            </a:fld>
            <a:r>
              <a:rPr lang="en-US" dirty="0">
                <a:solidFill>
                  <a:srgbClr val="000000"/>
                </a:solidFill>
              </a:rPr>
              <a:t> – </a:t>
            </a:r>
          </a:p>
        </p:txBody>
      </p:sp>
      <p:sp>
        <p:nvSpPr>
          <p:cNvPr id="5" name="Espace réservé du pied de page 2"/>
          <p:cNvSpPr>
            <a:spLocks noGrp="1"/>
          </p:cNvSpPr>
          <p:nvPr>
            <p:ph type="ftr" sz="quarter" idx="3"/>
          </p:nvPr>
        </p:nvSpPr>
        <p:spPr>
          <a:xfrm>
            <a:off x="931335" y="6388102"/>
            <a:ext cx="8159751" cy="184151"/>
          </a:xfrm>
          <a:prstGeom prst="rect">
            <a:avLst/>
          </a:prstGeom>
          <a:noFill/>
          <a:ln>
            <a:noFill/>
          </a:ln>
          <a:effectLst/>
        </p:spPr>
        <p:txBody>
          <a:bodyPr vert="horz" wrap="square" lIns="0" tIns="0" rIns="0" bIns="0" numCol="1" anchor="t" anchorCtr="0" compatLnSpc="1">
            <a:prstTxWarp prst="textNoShape">
              <a:avLst/>
            </a:prstTxWarp>
          </a:bodyPr>
          <a:lstStyle>
            <a:lvl1pPr eaLnBrk="0" hangingPunct="0">
              <a:lnSpc>
                <a:spcPct val="90000"/>
              </a:lnSpc>
              <a:buClr>
                <a:schemeClr val="accent3"/>
              </a:buClr>
              <a:buSzPct val="120000"/>
              <a:tabLst>
                <a:tab pos="1082648" algn="l"/>
                <a:tab pos="1616034" algn="l"/>
                <a:tab pos="2149421" algn="l"/>
                <a:tab pos="8076998" algn="r"/>
              </a:tabLst>
              <a:defRPr lang="fr-FR" sz="900" b="0" smtClean="0">
                <a:latin typeface="Arial" charset="0"/>
              </a:defRPr>
            </a:lvl1pPr>
          </a:lstStyle>
          <a:p>
            <a:pPr>
              <a:buClr>
                <a:srgbClr val="FF3333"/>
              </a:buClr>
              <a:defRPr/>
            </a:pPr>
            <a:r>
              <a:rPr lang="en-US">
                <a:solidFill>
                  <a:srgbClr val="000000"/>
                </a:solidFill>
              </a:rPr>
              <a:t>Unit Controller Call Series © Sodexo, July 2024.  All rights Reserved</a:t>
            </a:r>
            <a:endParaRPr lang="fr-FR" dirty="0">
              <a:solidFill>
                <a:srgbClr val="000000"/>
              </a:solidFill>
            </a:endParaRPr>
          </a:p>
        </p:txBody>
      </p:sp>
    </p:spTree>
    <p:extLst>
      <p:ext uri="{BB962C8B-B14F-4D97-AF65-F5344CB8AC3E}">
        <p14:creationId xmlns:p14="http://schemas.microsoft.com/office/powerpoint/2010/main" val="124900364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2"/>
            <a:ext cx="3901440" cy="276999"/>
          </a:xfrm>
        </p:spPr>
        <p:txBody>
          <a:bodyPr lIns="0" tIns="0" rIns="0" bIns="0"/>
          <a:lstStyle>
            <a:lvl1pPr algn="ctr">
              <a:defRPr>
                <a:solidFill>
                  <a:schemeClr val="tx1">
                    <a:tint val="75000"/>
                  </a:schemeClr>
                </a:solidFill>
              </a:defRPr>
            </a:lvl1pPr>
          </a:lstStyle>
          <a:p>
            <a:r>
              <a:rPr lang="en-US"/>
              <a:t>Unit Controller Call Series © Sodexo, July 2024.  All rights Reserved</a:t>
            </a:r>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chemeClr val="tx1"/>
                </a:solidFill>
                <a:latin typeface="Arial"/>
                <a:cs typeface="Arial"/>
              </a:defRPr>
            </a:lvl1pPr>
          </a:lstStyle>
          <a:p>
            <a:pPr marL="25399">
              <a:spcBef>
                <a:spcPts val="15"/>
              </a:spcBef>
            </a:pPr>
            <a:fld id="{81D60167-4931-47E6-BA6A-407CBD079E47}" type="slidenum">
              <a:rPr lang="en-US" smtClean="0"/>
              <a:pPr marL="25399">
                <a:spcBef>
                  <a:spcPts val="15"/>
                </a:spcBef>
              </a:pPr>
              <a:t>‹#›</a:t>
            </a:fld>
            <a:r>
              <a:rPr lang="en-US" spc="-75"/>
              <a:t> </a:t>
            </a:r>
            <a:r>
              <a:rPr lang="en-US"/>
              <a:t>–</a:t>
            </a:r>
          </a:p>
        </p:txBody>
      </p:sp>
    </p:spTree>
    <p:extLst>
      <p:ext uri="{BB962C8B-B14F-4D97-AF65-F5344CB8AC3E}">
        <p14:creationId xmlns:p14="http://schemas.microsoft.com/office/powerpoint/2010/main" val="197539918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628653" y="403202"/>
            <a:ext cx="10941049" cy="751653"/>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1"/>
            <a:ext cx="11088000" cy="1107996"/>
          </a:xfrm>
        </p:spPr>
        <p:txBody>
          <a:bodyPr/>
          <a:lstStyle>
            <a:lvl1pPr>
              <a:buClr>
                <a:schemeClr val="accent1"/>
              </a:buClr>
              <a:defRPr>
                <a:solidFill>
                  <a:schemeClr val="tx2"/>
                </a:solidFill>
              </a:defRPr>
            </a:lvl1pPr>
            <a:lvl2pPr marL="471476" indent="-200020">
              <a:buClr>
                <a:schemeClr val="accent1"/>
              </a:buClr>
              <a:tabLst>
                <a:tab pos="1212026" algn="l"/>
                <a:tab pos="1747795" algn="l"/>
                <a:tab pos="6057749" algn="r"/>
              </a:tabLst>
              <a:defRPr b="0">
                <a:solidFill>
                  <a:schemeClr val="tx2"/>
                </a:solidFill>
              </a:defRPr>
            </a:lvl2pPr>
            <a:lvl3pPr marL="672687" indent="-132157">
              <a:buClr>
                <a:schemeClr val="bg2"/>
              </a:buClr>
              <a:tabLst>
                <a:tab pos="811986" algn="l"/>
                <a:tab pos="1612066" algn="l"/>
                <a:tab pos="6057749" algn="r"/>
              </a:tabLst>
              <a:defRPr>
                <a:solidFill>
                  <a:schemeClr val="tx1"/>
                </a:solidFill>
              </a:defRPr>
            </a:lvl3pPr>
            <a:lvl4pPr marL="1212026" indent="-13453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a:xfrm>
            <a:off x="546520" y="8497360"/>
            <a:ext cx="263312" cy="249299"/>
          </a:xfrm>
        </p:spPr>
        <p:txBody>
          <a:bodyPr/>
          <a:lstStyle/>
          <a:p>
            <a:pPr eaLnBrk="0" hangingPunct="0">
              <a:lnSpc>
                <a:spcPct val="90000"/>
              </a:lnSpc>
              <a:buClr>
                <a:schemeClr val="accent3"/>
              </a:buClr>
              <a:buSzPct val="120000"/>
              <a:tabLst>
                <a:tab pos="811986" algn="l"/>
                <a:tab pos="1212026" algn="l"/>
                <a:tab pos="1612066" algn="l"/>
                <a:tab pos="6057749" algn="r"/>
              </a:tabLst>
            </a:pPr>
            <a:fld id="{B0A9F6E7-FE5B-4861-9484-6E92718E32B1}" type="slidenum">
              <a:rPr lang="en-US" smtClean="0"/>
              <a:pPr eaLnBrk="0" hangingPunct="0">
                <a:lnSpc>
                  <a:spcPct val="90000"/>
                </a:lnSpc>
                <a:buClr>
                  <a:schemeClr val="accent3"/>
                </a:buClr>
                <a:buSzPct val="120000"/>
                <a:tabLst>
                  <a:tab pos="811986" algn="l"/>
                  <a:tab pos="1212026" algn="l"/>
                  <a:tab pos="1612066" algn="l"/>
                  <a:tab pos="6057749" algn="r"/>
                </a:tabLst>
              </a:pPr>
              <a:t>‹#›</a:t>
            </a:fld>
            <a:r>
              <a:rPr lang="en-US"/>
              <a:t> – </a:t>
            </a:r>
            <a:endParaRPr lang="en-US" dirty="0"/>
          </a:p>
        </p:txBody>
      </p:sp>
      <p:sp>
        <p:nvSpPr>
          <p:cNvPr id="3" name="Espace réservé du pied de page 2"/>
          <p:cNvSpPr>
            <a:spLocks noGrp="1"/>
          </p:cNvSpPr>
          <p:nvPr>
            <p:ph type="ftr" sz="quarter" idx="14"/>
          </p:nvPr>
        </p:nvSpPr>
        <p:spPr>
          <a:xfrm>
            <a:off x="4145280" y="8503921"/>
            <a:ext cx="3901440" cy="498599"/>
          </a:xfrm>
        </p:spPr>
        <p:txBody>
          <a:bodyPr/>
          <a:lstStyle/>
          <a:p>
            <a:pPr eaLnBrk="0" hangingPunct="0">
              <a:lnSpc>
                <a:spcPct val="90000"/>
              </a:lnSpc>
              <a:buClr>
                <a:schemeClr val="accent3"/>
              </a:buClr>
              <a:buSzPct val="120000"/>
              <a:tabLst>
                <a:tab pos="811986" algn="l"/>
                <a:tab pos="1212026" algn="l"/>
                <a:tab pos="1612066" algn="l"/>
                <a:tab pos="6057749" algn="r"/>
              </a:tabLst>
            </a:pPr>
            <a:r>
              <a:rPr lang="en-US"/>
              <a:t>Unit Controller Call Series © Sodexo, July 2024.  All rights Reserved</a:t>
            </a:r>
            <a:endParaRPr lang="en-US" dirty="0"/>
          </a:p>
        </p:txBody>
      </p:sp>
    </p:spTree>
    <p:extLst>
      <p:ext uri="{BB962C8B-B14F-4D97-AF65-F5344CB8AC3E}">
        <p14:creationId xmlns:p14="http://schemas.microsoft.com/office/powerpoint/2010/main" val="9815638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45315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met</a:t>
            </a:r>
          </a:p>
          <a:p>
            <a:pPr lvl="1"/>
            <a:r>
              <a:rPr lang="en-US" noProof="0"/>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 ipsum dolor sit </a:t>
            </a:r>
            <a:r>
              <a:rPr lang="en-US" noProof="0" err="1"/>
              <a:t>amet</a:t>
            </a:r>
            <a:endParaRPr lang="en-US" noProof="0"/>
          </a:p>
          <a:p>
            <a:pPr lvl="1"/>
            <a:r>
              <a:rPr lang="en-US" noProof="0"/>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05429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32883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Titre 3">
            <a:extLst>
              <a:ext uri="{FF2B5EF4-FFF2-40B4-BE49-F238E27FC236}">
                <a16:creationId xmlns:a16="http://schemas.microsoft.com/office/drawing/2014/main" id="{FCE24A74-C0D5-4C66-9D11-7BFD8F8C8F3E}"/>
              </a:ext>
            </a:extLst>
          </p:cNvPr>
          <p:cNvSpPr>
            <a:spLocks noGrp="1"/>
          </p:cNvSpPr>
          <p:nvPr>
            <p:ph type="title" hasCustomPrompt="1"/>
          </p:nvPr>
        </p:nvSpPr>
        <p:spPr>
          <a:xfrm>
            <a:off x="443280" y="489839"/>
            <a:ext cx="10515600" cy="346249"/>
          </a:xfrm>
        </p:spPr>
        <p:txBody>
          <a:bodyPr/>
          <a:lstStyle/>
          <a:p>
            <a:r>
              <a:rPr lang="en-US" noProof="0"/>
              <a:t>Title, text level 1</a:t>
            </a:r>
          </a:p>
        </p:txBody>
      </p:sp>
    </p:spTree>
    <p:extLst>
      <p:ext uri="{BB962C8B-B14F-4D97-AF65-F5344CB8AC3E}">
        <p14:creationId xmlns:p14="http://schemas.microsoft.com/office/powerpoint/2010/main" val="2207376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en-US" noProof="0" dirty="0"/>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ly 2024.  All rights Reserved</a:t>
            </a:r>
            <a:endParaRPr lang="en-US" noProof="0" dirty="0"/>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278333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37184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83482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err="1"/>
              <a:t>Title</a:t>
            </a:r>
            <a:r>
              <a:rPr lang="fr-FR" noProof="0"/>
              <a:t>, </a:t>
            </a:r>
            <a:r>
              <a:rPr lang="fr-FR" noProof="0" err="1"/>
              <a:t>text</a:t>
            </a:r>
            <a:r>
              <a:rPr lang="fr-FR" noProof="0"/>
              <a:t> </a:t>
            </a:r>
            <a:r>
              <a:rPr lang="en-US" noProof="0"/>
              <a:t>level</a:t>
            </a:r>
            <a:r>
              <a:rPr lang="fr-FR" noProof="0"/>
              <a:t>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24366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8521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7792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29298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ly 2024.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Tree>
    <p:extLst>
      <p:ext uri="{BB962C8B-B14F-4D97-AF65-F5344CB8AC3E}">
        <p14:creationId xmlns:p14="http://schemas.microsoft.com/office/powerpoint/2010/main" val="87203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01555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06362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2479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ly 2024.  All rights Reserved</a:t>
            </a:r>
            <a:endParaRPr lang="en-US" noProof="0" dirty="0"/>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74047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61612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75664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en-US" noProof="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en-US" noProof="0"/>
              <a:t>Lorem</a:t>
            </a:r>
            <a:r>
              <a:rPr lang="fr-FR"/>
              <a:t>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a:t>
            </a:r>
            <a:r>
              <a:rPr lang="en-US" noProof="0"/>
              <a:t>ipsum</a:t>
            </a:r>
            <a:r>
              <a:rPr lang="fr-FR"/>
              <a:t>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a:t>
            </a:r>
            <a:r>
              <a:rPr lang="fr-FR" noProof="0"/>
              <a:t>ipsum</a:t>
            </a:r>
            <a:r>
              <a:rPr lang="fr-FR"/>
              <a:t>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en-US" noProof="0"/>
              <a:t>text</a:t>
            </a:r>
            <a:r>
              <a:rPr lang="fr-FR"/>
              <a:t> </a:t>
            </a:r>
            <a:r>
              <a:rPr lang="fr-FR" err="1"/>
              <a:t>level</a:t>
            </a:r>
            <a:r>
              <a:rPr lang="fr-FR"/>
              <a:t> 1</a:t>
            </a:r>
          </a:p>
        </p:txBody>
      </p:sp>
    </p:spTree>
    <p:extLst>
      <p:ext uri="{BB962C8B-B14F-4D97-AF65-F5344CB8AC3E}">
        <p14:creationId xmlns:p14="http://schemas.microsoft.com/office/powerpoint/2010/main" val="4007352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1_//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40512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9617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_//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47233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71600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15473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1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56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81701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dirty="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endParaRPr lang="en-US" noProof="0" dirty="0"/>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94070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23450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ly 2024.  All rights Reserved</a:t>
            </a:r>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err="1"/>
              <a:t>Sodexo’s</a:t>
            </a:r>
            <a:r>
              <a:rPr lang="fr-FR"/>
              <a:t> PPT </a:t>
            </a:r>
            <a:r>
              <a:rPr lang="fr-FR" err="1"/>
              <a:t>template</a:t>
            </a:r>
            <a:endParaRPr lang="fr-FR"/>
          </a:p>
          <a:p>
            <a:pPr lvl="1"/>
            <a:endParaRPr lang="fr-FR"/>
          </a:p>
          <a:p>
            <a:pPr lvl="1"/>
            <a:r>
              <a:rPr lang="fr-FR"/>
              <a:t>Day </a:t>
            </a:r>
            <a:r>
              <a:rPr lang="fr-FR" err="1"/>
              <a:t>Month</a:t>
            </a:r>
            <a:r>
              <a:rPr lang="fr-FR"/>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539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5" name="Footer Placeholder 4"/>
          <p:cNvSpPr>
            <a:spLocks noGrp="1"/>
          </p:cNvSpPr>
          <p:nvPr>
            <p:ph type="ftr" sz="quarter" idx="11"/>
          </p:nvPr>
        </p:nvSpPr>
        <p:spPr/>
        <p:txBody>
          <a:bodyPr/>
          <a:lstStyle/>
          <a:p>
            <a:r>
              <a:rPr lang="en-US"/>
              <a:t>Unit Controller Call Series © Sodexo, July 2024.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r>
              <a:rPr lang="fr-FR"/>
              <a:t> </a:t>
            </a:r>
            <a:br>
              <a:rPr lang="fr-FR"/>
            </a:br>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Tree>
    <p:extLst>
      <p:ext uri="{BB962C8B-B14F-4D97-AF65-F5344CB8AC3E}">
        <p14:creationId xmlns:p14="http://schemas.microsoft.com/office/powerpoint/2010/main" val="85211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5" name="Footer Placeholder 4"/>
          <p:cNvSpPr>
            <a:spLocks noGrp="1"/>
          </p:cNvSpPr>
          <p:nvPr>
            <p:ph type="ftr" sz="quarter" idx="11"/>
          </p:nvPr>
        </p:nvSpPr>
        <p:spPr/>
        <p:txBody>
          <a:bodyPr/>
          <a:lstStyle/>
          <a:p>
            <a:r>
              <a:rPr lang="en-US"/>
              <a:t>Unit Controller Call Series © Sodexo, July 2024.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Tree>
    <p:extLst>
      <p:ext uri="{BB962C8B-B14F-4D97-AF65-F5344CB8AC3E}">
        <p14:creationId xmlns:p14="http://schemas.microsoft.com/office/powerpoint/2010/main" val="1534052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a:t>Lorem ipsum </a:t>
            </a:r>
            <a:r>
              <a:rPr lang="fr-FR" err="1"/>
              <a:t>dolor</a:t>
            </a:r>
            <a:br>
              <a:rPr lang="fr-FR"/>
            </a:br>
            <a:r>
              <a:rPr lang="fr-FR" err="1"/>
              <a:t>sit</a:t>
            </a:r>
            <a:r>
              <a:rPr lang="fr-FR"/>
              <a:t> </a:t>
            </a:r>
            <a:r>
              <a:rPr lang="fr-FR" err="1"/>
              <a:t>amet</a:t>
            </a:r>
            <a:endParaRPr lang="fr-FR"/>
          </a:p>
          <a:p>
            <a:pPr lvl="1"/>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ly 2024.  All rights Reserved</a:t>
            </a:r>
            <a:endParaRPr lang="fr-FR"/>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1036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a:t>Lorem ipsum </a:t>
            </a:r>
            <a:r>
              <a:rPr lang="fr-FR" err="1"/>
              <a:t>dolor</a:t>
            </a:r>
            <a:br>
              <a:rPr lang="fr-FR"/>
            </a:br>
            <a:r>
              <a:rPr lang="fr-FR" err="1"/>
              <a:t>sit</a:t>
            </a:r>
            <a:r>
              <a:rPr lang="fr-FR"/>
              <a:t> </a:t>
            </a:r>
            <a:r>
              <a:rPr lang="fr-FR" err="1"/>
              <a:t>amet</a:t>
            </a:r>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ly 2024.  All rights Reserved</a:t>
            </a:r>
            <a:endParaRPr lang="fr-FR"/>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8007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a:t>00</a:t>
            </a:r>
          </a:p>
          <a:p>
            <a:pPr lvl="1"/>
            <a:r>
              <a:rPr lang="fr-FR"/>
              <a:t>Lorem ipsum </a:t>
            </a:r>
            <a:r>
              <a:rPr lang="fr-FR" err="1"/>
              <a:t>dolor</a:t>
            </a:r>
            <a:br>
              <a:rPr lang="fr-FR"/>
            </a:br>
            <a:r>
              <a:rPr lang="fr-FR" err="1"/>
              <a:t>sit</a:t>
            </a:r>
            <a:r>
              <a:rPr lang="fr-FR"/>
              <a:t> </a:t>
            </a:r>
            <a:r>
              <a:rPr lang="fr-FR" err="1"/>
              <a:t>amet</a:t>
            </a:r>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1340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err="1"/>
              <a:t>Subtitle</a:t>
            </a:r>
            <a:r>
              <a:rPr lang="fr-FR"/>
              <a:t> </a:t>
            </a:r>
            <a:r>
              <a:rPr lang="fr-FR" err="1"/>
              <a:t>lorem</a:t>
            </a:r>
            <a:r>
              <a:rPr lang="fr-FR"/>
              <a:t> ipsum </a:t>
            </a:r>
            <a:r>
              <a:rPr lang="fr-FR" err="1"/>
              <a:t>subtitle</a:t>
            </a:r>
            <a:r>
              <a:rPr lang="fr-FR"/>
              <a:t> </a:t>
            </a:r>
            <a:r>
              <a:rPr lang="fr-FR" err="1"/>
              <a:t>lorem</a:t>
            </a:r>
            <a:endParaRPr lang="fr-FR"/>
          </a:p>
          <a:p>
            <a:pPr lvl="0"/>
            <a:r>
              <a:rPr lang="fr-FR"/>
              <a:t>ipsum </a:t>
            </a:r>
            <a:r>
              <a:rPr lang="fr-FR" err="1"/>
              <a:t>subtitle</a:t>
            </a:r>
            <a:r>
              <a:rPr lang="fr-FR"/>
              <a:t> </a:t>
            </a:r>
            <a:r>
              <a:rPr lang="fr-FR" err="1"/>
              <a:t>lorem</a:t>
            </a:r>
            <a:r>
              <a:rPr lang="fr-FR"/>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9499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92512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8680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ly 2024.  All rights Reserved</a:t>
            </a:r>
            <a:endParaRPr lang="en-US" noProof="0" dirty="0"/>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77264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44873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86535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75784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95591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1</a:t>
            </a:r>
          </a:p>
          <a:p>
            <a:pPr lvl="1"/>
            <a:r>
              <a:rPr lang="fr-FR"/>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49781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12191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98867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85910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82787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24621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35138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7681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6224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6061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5861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232708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ly 2024.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15520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368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4073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595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112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26" Type="http://schemas.openxmlformats.org/officeDocument/2006/relationships/slideLayout" Target="../slideLayouts/slideLayout404.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34" Type="http://schemas.openxmlformats.org/officeDocument/2006/relationships/slideLayout" Target="../slideLayouts/slideLayout412.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slideLayout" Target="../slideLayouts/slideLayout403.xml"/><Relationship Id="rId33" Type="http://schemas.openxmlformats.org/officeDocument/2006/relationships/slideLayout" Target="../slideLayouts/slideLayout411.xml"/><Relationship Id="rId38" Type="http://schemas.openxmlformats.org/officeDocument/2006/relationships/image" Target="../media/image2.png"/><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29" Type="http://schemas.openxmlformats.org/officeDocument/2006/relationships/slideLayout" Target="../slideLayouts/slideLayout407.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24" Type="http://schemas.openxmlformats.org/officeDocument/2006/relationships/slideLayout" Target="../slideLayouts/slideLayout402.xml"/><Relationship Id="rId32" Type="http://schemas.openxmlformats.org/officeDocument/2006/relationships/slideLayout" Target="../slideLayouts/slideLayout410.xml"/><Relationship Id="rId37" Type="http://schemas.openxmlformats.org/officeDocument/2006/relationships/image" Target="../media/image1.png"/><Relationship Id="rId5" Type="http://schemas.openxmlformats.org/officeDocument/2006/relationships/slideLayout" Target="../slideLayouts/slideLayout383.xml"/><Relationship Id="rId15" Type="http://schemas.openxmlformats.org/officeDocument/2006/relationships/slideLayout" Target="../slideLayouts/slideLayout393.xml"/><Relationship Id="rId23" Type="http://schemas.openxmlformats.org/officeDocument/2006/relationships/slideLayout" Target="../slideLayouts/slideLayout401.xml"/><Relationship Id="rId28" Type="http://schemas.openxmlformats.org/officeDocument/2006/relationships/slideLayout" Target="../slideLayouts/slideLayout406.xml"/><Relationship Id="rId36" Type="http://schemas.openxmlformats.org/officeDocument/2006/relationships/theme" Target="../theme/theme10.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31" Type="http://schemas.openxmlformats.org/officeDocument/2006/relationships/slideLayout" Target="../slideLayouts/slideLayout409.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slideLayout" Target="../slideLayouts/slideLayout405.xml"/><Relationship Id="rId30" Type="http://schemas.openxmlformats.org/officeDocument/2006/relationships/slideLayout" Target="../slideLayouts/slideLayout408.xml"/><Relationship Id="rId35" Type="http://schemas.openxmlformats.org/officeDocument/2006/relationships/slideLayout" Target="../slideLayouts/slideLayout4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26" Type="http://schemas.openxmlformats.org/officeDocument/2006/relationships/slideLayout" Target="../slideLayouts/slideLayout439.xml"/><Relationship Id="rId39" Type="http://schemas.openxmlformats.org/officeDocument/2006/relationships/slideLayout" Target="../slideLayouts/slideLayout452.xml"/><Relationship Id="rId3" Type="http://schemas.openxmlformats.org/officeDocument/2006/relationships/slideLayout" Target="../slideLayouts/slideLayout416.xml"/><Relationship Id="rId21" Type="http://schemas.openxmlformats.org/officeDocument/2006/relationships/slideLayout" Target="../slideLayouts/slideLayout434.xml"/><Relationship Id="rId34" Type="http://schemas.openxmlformats.org/officeDocument/2006/relationships/slideLayout" Target="../slideLayouts/slideLayout447.xml"/><Relationship Id="rId42" Type="http://schemas.openxmlformats.org/officeDocument/2006/relationships/theme" Target="../theme/theme11.xml"/><Relationship Id="rId7" Type="http://schemas.openxmlformats.org/officeDocument/2006/relationships/slideLayout" Target="../slideLayouts/slideLayout420.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slideLayout" Target="../slideLayouts/slideLayout438.xml"/><Relationship Id="rId33" Type="http://schemas.openxmlformats.org/officeDocument/2006/relationships/slideLayout" Target="../slideLayouts/slideLayout446.xml"/><Relationship Id="rId38" Type="http://schemas.openxmlformats.org/officeDocument/2006/relationships/slideLayout" Target="../slideLayouts/slideLayout451.xml"/><Relationship Id="rId2" Type="http://schemas.openxmlformats.org/officeDocument/2006/relationships/slideLayout" Target="../slideLayouts/slideLayout415.xml"/><Relationship Id="rId16" Type="http://schemas.openxmlformats.org/officeDocument/2006/relationships/slideLayout" Target="../slideLayouts/slideLayout429.xml"/><Relationship Id="rId20" Type="http://schemas.openxmlformats.org/officeDocument/2006/relationships/slideLayout" Target="../slideLayouts/slideLayout433.xml"/><Relationship Id="rId29" Type="http://schemas.openxmlformats.org/officeDocument/2006/relationships/slideLayout" Target="../slideLayouts/slideLayout442.xml"/><Relationship Id="rId41" Type="http://schemas.openxmlformats.org/officeDocument/2006/relationships/slideLayout" Target="../slideLayouts/slideLayout454.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slideLayout" Target="../slideLayouts/slideLayout445.xml"/><Relationship Id="rId37" Type="http://schemas.openxmlformats.org/officeDocument/2006/relationships/slideLayout" Target="../slideLayouts/slideLayout450.xml"/><Relationship Id="rId40" Type="http://schemas.openxmlformats.org/officeDocument/2006/relationships/slideLayout" Target="../slideLayouts/slideLayout453.xml"/><Relationship Id="rId5" Type="http://schemas.openxmlformats.org/officeDocument/2006/relationships/slideLayout" Target="../slideLayouts/slideLayout418.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slideLayout" Target="../slideLayouts/slideLayout441.xml"/><Relationship Id="rId36" Type="http://schemas.openxmlformats.org/officeDocument/2006/relationships/slideLayout" Target="../slideLayouts/slideLayout449.xml"/><Relationship Id="rId10" Type="http://schemas.openxmlformats.org/officeDocument/2006/relationships/slideLayout" Target="../slideLayouts/slideLayout423.xml"/><Relationship Id="rId19" Type="http://schemas.openxmlformats.org/officeDocument/2006/relationships/slideLayout" Target="../slideLayouts/slideLayout432.xml"/><Relationship Id="rId31" Type="http://schemas.openxmlformats.org/officeDocument/2006/relationships/slideLayout" Target="../slideLayouts/slideLayout444.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slideLayout" Target="../slideLayouts/slideLayout440.xml"/><Relationship Id="rId30" Type="http://schemas.openxmlformats.org/officeDocument/2006/relationships/slideLayout" Target="../slideLayouts/slideLayout443.xml"/><Relationship Id="rId35" Type="http://schemas.openxmlformats.org/officeDocument/2006/relationships/slideLayout" Target="../slideLayouts/slideLayout44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76" Type="http://schemas.openxmlformats.org/officeDocument/2006/relationships/slideLayout" Target="../slideLayouts/slideLayout146.xml"/><Relationship Id="rId84" Type="http://schemas.openxmlformats.org/officeDocument/2006/relationships/slideLayout" Target="../slideLayouts/slideLayout154.xml"/><Relationship Id="rId89" Type="http://schemas.openxmlformats.org/officeDocument/2006/relationships/slideLayout" Target="../slideLayouts/slideLayout159.xml"/><Relationship Id="rId97" Type="http://schemas.openxmlformats.org/officeDocument/2006/relationships/image" Target="../media/image1.png"/><Relationship Id="rId7" Type="http://schemas.openxmlformats.org/officeDocument/2006/relationships/slideLayout" Target="../slideLayouts/slideLayout77.xml"/><Relationship Id="rId71" Type="http://schemas.openxmlformats.org/officeDocument/2006/relationships/slideLayout" Target="../slideLayouts/slideLayout141.xml"/><Relationship Id="rId92" Type="http://schemas.openxmlformats.org/officeDocument/2006/relationships/slideLayout" Target="../slideLayouts/slideLayout162.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74" Type="http://schemas.openxmlformats.org/officeDocument/2006/relationships/slideLayout" Target="../slideLayouts/slideLayout144.xml"/><Relationship Id="rId79" Type="http://schemas.openxmlformats.org/officeDocument/2006/relationships/slideLayout" Target="../slideLayouts/slideLayout149.xml"/><Relationship Id="rId87" Type="http://schemas.openxmlformats.org/officeDocument/2006/relationships/slideLayout" Target="../slideLayouts/slideLayout157.xml"/><Relationship Id="rId5" Type="http://schemas.openxmlformats.org/officeDocument/2006/relationships/slideLayout" Target="../slideLayouts/slideLayout75.xml"/><Relationship Id="rId61" Type="http://schemas.openxmlformats.org/officeDocument/2006/relationships/slideLayout" Target="../slideLayouts/slideLayout131.xml"/><Relationship Id="rId82" Type="http://schemas.openxmlformats.org/officeDocument/2006/relationships/slideLayout" Target="../slideLayouts/slideLayout152.xml"/><Relationship Id="rId90" Type="http://schemas.openxmlformats.org/officeDocument/2006/relationships/slideLayout" Target="../slideLayouts/slideLayout160.xml"/><Relationship Id="rId95" Type="http://schemas.openxmlformats.org/officeDocument/2006/relationships/slideLayout" Target="../slideLayouts/slideLayout165.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slideLayout" Target="../slideLayouts/slideLayout139.xml"/><Relationship Id="rId77" Type="http://schemas.openxmlformats.org/officeDocument/2006/relationships/slideLayout" Target="../slideLayouts/slideLayout147.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slideLayout" Target="../slideLayouts/slideLayout142.xml"/><Relationship Id="rId80" Type="http://schemas.openxmlformats.org/officeDocument/2006/relationships/slideLayout" Target="../slideLayouts/slideLayout150.xml"/><Relationship Id="rId85" Type="http://schemas.openxmlformats.org/officeDocument/2006/relationships/slideLayout" Target="../slideLayouts/slideLayout155.xml"/><Relationship Id="rId93" Type="http://schemas.openxmlformats.org/officeDocument/2006/relationships/slideLayout" Target="../slideLayouts/slideLayout163.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slideLayout" Target="../slideLayouts/slideLayout140.xml"/><Relationship Id="rId75" Type="http://schemas.openxmlformats.org/officeDocument/2006/relationships/slideLayout" Target="../slideLayouts/slideLayout145.xml"/><Relationship Id="rId83" Type="http://schemas.openxmlformats.org/officeDocument/2006/relationships/slideLayout" Target="../slideLayouts/slideLayout153.xml"/><Relationship Id="rId88" Type="http://schemas.openxmlformats.org/officeDocument/2006/relationships/slideLayout" Target="../slideLayouts/slideLayout158.xml"/><Relationship Id="rId91" Type="http://schemas.openxmlformats.org/officeDocument/2006/relationships/slideLayout" Target="../slideLayouts/slideLayout161.xml"/><Relationship Id="rId96" Type="http://schemas.openxmlformats.org/officeDocument/2006/relationships/theme" Target="../theme/theme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slideLayout" Target="../slideLayouts/slideLayout143.xml"/><Relationship Id="rId78" Type="http://schemas.openxmlformats.org/officeDocument/2006/relationships/slideLayout" Target="../slideLayouts/slideLayout148.xml"/><Relationship Id="rId81" Type="http://schemas.openxmlformats.org/officeDocument/2006/relationships/slideLayout" Target="../slideLayouts/slideLayout151.xml"/><Relationship Id="rId86" Type="http://schemas.openxmlformats.org/officeDocument/2006/relationships/slideLayout" Target="../slideLayouts/slideLayout156.xml"/><Relationship Id="rId94" Type="http://schemas.openxmlformats.org/officeDocument/2006/relationships/slideLayout" Target="../slideLayouts/slideLayout164.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image" Target="../media/image2.png"/><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image" Target="../media/image1.png"/><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theme" Target="../theme/theme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34" Type="http://schemas.openxmlformats.org/officeDocument/2006/relationships/tags" Target="../tags/tag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theme" Target="../theme/theme4.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slideLayout" Target="../slideLayouts/slideLayout22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37" Type="http://schemas.openxmlformats.org/officeDocument/2006/relationships/image" Target="../media/image9.emf"/><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36" Type="http://schemas.openxmlformats.org/officeDocument/2006/relationships/oleObject" Target="../embeddings/oleObject1.bin"/><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31" Type="http://schemas.openxmlformats.org/officeDocument/2006/relationships/slideLayout" Target="../slideLayouts/slideLayout231.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35"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34" Type="http://schemas.openxmlformats.org/officeDocument/2006/relationships/slideLayout" Target="../slideLayouts/slideLayout266.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slideLayout" Target="../slideLayouts/slideLayout265.xml"/><Relationship Id="rId38" Type="http://schemas.openxmlformats.org/officeDocument/2006/relationships/image" Target="../media/image2.png"/><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37" Type="http://schemas.openxmlformats.org/officeDocument/2006/relationships/image" Target="../media/image1.png"/><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36" Type="http://schemas.openxmlformats.org/officeDocument/2006/relationships/theme" Target="../theme/theme5.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 Id="rId35" Type="http://schemas.openxmlformats.org/officeDocument/2006/relationships/slideLayout" Target="../slideLayouts/slideLayout2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image" Target="../media/image2.png"/><Relationship Id="rId3" Type="http://schemas.openxmlformats.org/officeDocument/2006/relationships/slideLayout" Target="../slideLayouts/slideLayout270.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image" Target="../media/image1.png"/><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theme" Target="../theme/theme6.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34" Type="http://schemas.openxmlformats.org/officeDocument/2006/relationships/image" Target="../media/image1.png"/><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theme" Target="../theme/theme7.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4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heme" Target="../theme/theme8.xml"/><Relationship Id="rId2" Type="http://schemas.openxmlformats.org/officeDocument/2006/relationships/slideLayout" Target="../slideLayouts/slideLayout337.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0" Type="http://schemas.openxmlformats.org/officeDocument/2006/relationships/slideLayout" Target="../slideLayouts/slideLayout345.xml"/><Relationship Id="rId4" Type="http://schemas.openxmlformats.org/officeDocument/2006/relationships/slideLayout" Target="../slideLayouts/slideLayout339.xml"/><Relationship Id="rId9" Type="http://schemas.openxmlformats.org/officeDocument/2006/relationships/slideLayout" Target="../slideLayouts/slideLayout3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34" Type="http://schemas.openxmlformats.org/officeDocument/2006/relationships/image" Target="../media/image1.png"/><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theme" Target="../theme/theme9.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slideLayout" Target="../slideLayouts/slideLayout378.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72">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4.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73"/>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177247593"/>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44" r:id="rId45"/>
    <p:sldLayoutId id="2147483745" r:id="rId46"/>
    <p:sldLayoutId id="2147483746" r:id="rId47"/>
    <p:sldLayoutId id="2147483747" r:id="rId48"/>
    <p:sldLayoutId id="2147483748" r:id="rId49"/>
    <p:sldLayoutId id="2147483749" r:id="rId50"/>
    <p:sldLayoutId id="2147483750" r:id="rId51"/>
    <p:sldLayoutId id="2147483751" r:id="rId52"/>
    <p:sldLayoutId id="2147483752" r:id="rId53"/>
    <p:sldLayoutId id="2147483753" r:id="rId54"/>
    <p:sldLayoutId id="2147483754" r:id="rId55"/>
    <p:sldLayoutId id="2147483755" r:id="rId56"/>
    <p:sldLayoutId id="2147483756" r:id="rId57"/>
    <p:sldLayoutId id="2147483757" r:id="rId58"/>
    <p:sldLayoutId id="2147483758" r:id="rId59"/>
    <p:sldLayoutId id="2147483759" r:id="rId60"/>
    <p:sldLayoutId id="2147483760" r:id="rId61"/>
    <p:sldLayoutId id="2147483761" r:id="rId62"/>
    <p:sldLayoutId id="2147483762" r:id="rId63"/>
    <p:sldLayoutId id="2147483763" r:id="rId64"/>
    <p:sldLayoutId id="2147483764" r:id="rId65"/>
    <p:sldLayoutId id="2147483765" r:id="rId66"/>
    <p:sldLayoutId id="2147483766" r:id="rId67"/>
    <p:sldLayoutId id="2147483767" r:id="rId68"/>
    <p:sldLayoutId id="2147483768" r:id="rId69"/>
    <p:sldLayoutId id="2147483769" r:id="rId7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8" y="6553167"/>
            <a:ext cx="542727" cy="107723"/>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1" b="1">
                <a:solidFill>
                  <a:srgbClr val="2A295C"/>
                </a:solidFill>
              </a:defRPr>
            </a:lvl1pPr>
          </a:lstStyle>
          <a:p>
            <a:r>
              <a:rPr lang="en-US" noProof="0"/>
              <a:t>Unit Controller Call Series © Sodexo, July 2024.  All rights Reserved</a:t>
            </a:r>
          </a:p>
        </p:txBody>
      </p:sp>
      <p:sp>
        <p:nvSpPr>
          <p:cNvPr id="3" name="Text Placeholder 2"/>
          <p:cNvSpPr>
            <a:spLocks noGrp="1"/>
          </p:cNvSpPr>
          <p:nvPr>
            <p:ph type="body" idx="1"/>
          </p:nvPr>
        </p:nvSpPr>
        <p:spPr>
          <a:xfrm>
            <a:off x="443281" y="1622321"/>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41"/>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8"/>
          <a:stretch>
            <a:fillRect/>
          </a:stretch>
        </p:blipFill>
        <p:spPr>
          <a:xfrm>
            <a:off x="4303251"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10"/>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a:p>
        </p:txBody>
      </p:sp>
    </p:spTree>
    <p:extLst>
      <p:ext uri="{BB962C8B-B14F-4D97-AF65-F5344CB8AC3E}">
        <p14:creationId xmlns:p14="http://schemas.microsoft.com/office/powerpoint/2010/main" val="1197801565"/>
      </p:ext>
    </p:extLst>
  </p:cSld>
  <p:clrMap bg1="lt1" tx1="dk1" bg2="lt2" tx2="dk2" accent1="accent1" accent2="accent2" accent3="accent3" accent4="accent4" accent5="accent5" accent6="accent6" hlink="hlink" folHlink="folHlink"/>
  <p:sldLayoutIdLst>
    <p:sldLayoutId id="2147484716" r:id="rId1"/>
    <p:sldLayoutId id="2147484717" r:id="rId2"/>
    <p:sldLayoutId id="2147484718" r:id="rId3"/>
    <p:sldLayoutId id="2147484719" r:id="rId4"/>
    <p:sldLayoutId id="2147484720" r:id="rId5"/>
    <p:sldLayoutId id="2147484721" r:id="rId6"/>
    <p:sldLayoutId id="2147484722" r:id="rId7"/>
    <p:sldLayoutId id="2147484723" r:id="rId8"/>
    <p:sldLayoutId id="2147484724" r:id="rId9"/>
    <p:sldLayoutId id="2147484725" r:id="rId10"/>
    <p:sldLayoutId id="2147484726" r:id="rId11"/>
    <p:sldLayoutId id="2147484727" r:id="rId12"/>
    <p:sldLayoutId id="2147484728" r:id="rId13"/>
    <p:sldLayoutId id="2147484729" r:id="rId14"/>
    <p:sldLayoutId id="2147484730" r:id="rId15"/>
    <p:sldLayoutId id="2147484731" r:id="rId16"/>
    <p:sldLayoutId id="2147484732" r:id="rId17"/>
    <p:sldLayoutId id="2147484733" r:id="rId18"/>
    <p:sldLayoutId id="2147484734" r:id="rId19"/>
    <p:sldLayoutId id="2147484735" r:id="rId20"/>
    <p:sldLayoutId id="2147484736" r:id="rId21"/>
    <p:sldLayoutId id="2147484737" r:id="rId22"/>
    <p:sldLayoutId id="2147484738" r:id="rId23"/>
    <p:sldLayoutId id="2147484739" r:id="rId24"/>
    <p:sldLayoutId id="2147484740" r:id="rId25"/>
    <p:sldLayoutId id="2147484741" r:id="rId26"/>
    <p:sldLayoutId id="2147484742" r:id="rId27"/>
    <p:sldLayoutId id="2147484743" r:id="rId28"/>
    <p:sldLayoutId id="2147484744" r:id="rId29"/>
    <p:sldLayoutId id="2147484745" r:id="rId30"/>
    <p:sldLayoutId id="2147484746" r:id="rId31"/>
    <p:sldLayoutId id="2147484747" r:id="rId32"/>
    <p:sldLayoutId id="2147484748" r:id="rId33"/>
    <p:sldLayoutId id="2147484749" r:id="rId34"/>
    <p:sldLayoutId id="2147484750"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54"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54"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69993" indent="-269993" algn="l" defTabSz="914354"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5990" indent="-143996" algn="l" defTabSz="914354"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586" indent="-143996" algn="l" defTabSz="914354"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54"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403200"/>
            <a:ext cx="10941049" cy="542400"/>
          </a:xfrm>
          <a:prstGeom prst="rect">
            <a:avLst/>
          </a:prstGeom>
        </p:spPr>
        <p:txBody>
          <a:bodyPr vert="horz" lIns="0" tIns="0" rIns="0" bIns="0" rtlCol="0" anchor="t">
            <a:normAutofit/>
          </a:bodyPr>
          <a:lstStyle/>
          <a:p>
            <a:endParaRPr lang="en-AU" dirty="0"/>
          </a:p>
        </p:txBody>
      </p:sp>
      <p:sp>
        <p:nvSpPr>
          <p:cNvPr id="3" name="Text Placeholder 2"/>
          <p:cNvSpPr>
            <a:spLocks noGrp="1"/>
          </p:cNvSpPr>
          <p:nvPr>
            <p:ph type="body" idx="1"/>
          </p:nvPr>
        </p:nvSpPr>
        <p:spPr>
          <a:xfrm>
            <a:off x="628651" y="1584000"/>
            <a:ext cx="10941048" cy="4555067"/>
          </a:xfrm>
          <a:prstGeom prst="rect">
            <a:avLst/>
          </a:prstGeom>
        </p:spPr>
        <p:txBody>
          <a:bodyPr vert="horz" lIns="0" tIns="0" rIns="0" bIns="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Footer Placeholder 4"/>
          <p:cNvSpPr>
            <a:spLocks noGrp="1"/>
          </p:cNvSpPr>
          <p:nvPr>
            <p:ph type="ftr" sz="quarter" idx="3"/>
          </p:nvPr>
        </p:nvSpPr>
        <p:spPr>
          <a:xfrm>
            <a:off x="2696635" y="6453336"/>
            <a:ext cx="8873067" cy="152381"/>
          </a:xfrm>
          <a:prstGeom prst="rect">
            <a:avLst/>
          </a:prstGeom>
        </p:spPr>
        <p:txBody>
          <a:bodyPr vert="horz" lIns="0" tIns="0" rIns="0" bIns="0" rtlCol="0" anchor="b" anchorCtr="0"/>
          <a:lstStyle>
            <a:lvl1pPr algn="l">
              <a:defRPr sz="800">
                <a:solidFill>
                  <a:schemeClr val="accent1"/>
                </a:solidFill>
                <a:latin typeface="+mn-lt"/>
              </a:defRPr>
            </a:lvl1pPr>
          </a:lstStyle>
          <a:p>
            <a:r>
              <a:rPr lang="en-US"/>
              <a:t>Unit Controller Call Series © Sodexo, July 2024.  All rights Reserved</a:t>
            </a:r>
            <a:endParaRPr lang="en-AU" dirty="0"/>
          </a:p>
        </p:txBody>
      </p:sp>
      <p:sp>
        <p:nvSpPr>
          <p:cNvPr id="7" name="Slide Number Placeholder 5"/>
          <p:cNvSpPr>
            <a:spLocks noGrp="1"/>
          </p:cNvSpPr>
          <p:nvPr>
            <p:ph type="sldNum" sz="quarter" idx="4"/>
          </p:nvPr>
        </p:nvSpPr>
        <p:spPr>
          <a:xfrm>
            <a:off x="113373" y="6453336"/>
            <a:ext cx="314195" cy="153600"/>
          </a:xfrm>
          <a:prstGeom prst="rect">
            <a:avLst/>
          </a:prstGeom>
        </p:spPr>
        <p:txBody>
          <a:bodyPr vert="horz" lIns="0" tIns="0" rIns="0" bIns="0" rtlCol="0" anchor="b" anchorCtr="0"/>
          <a:lstStyle>
            <a:lvl1pPr algn="r">
              <a:defRPr sz="800" b="1">
                <a:solidFill>
                  <a:schemeClr val="accent1"/>
                </a:solidFill>
              </a:defRPr>
            </a:lvl1pPr>
          </a:lstStyle>
          <a:p>
            <a:fld id="{E917DE0E-AFB1-41FD-BC35-27DB61CA125F}" type="slidenum">
              <a:rPr lang="en-AU" smtClean="0"/>
              <a:pPr/>
              <a:t>‹#›</a:t>
            </a:fld>
            <a:endParaRPr lang="en-AU" dirty="0"/>
          </a:p>
        </p:txBody>
      </p:sp>
      <p:sp>
        <p:nvSpPr>
          <p:cNvPr id="10" name="Date Placeholder 9"/>
          <p:cNvSpPr>
            <a:spLocks noGrp="1"/>
          </p:cNvSpPr>
          <p:nvPr>
            <p:ph type="dt" sz="half" idx="2"/>
          </p:nvPr>
        </p:nvSpPr>
        <p:spPr>
          <a:xfrm>
            <a:off x="635001" y="6453336"/>
            <a:ext cx="1826684" cy="152381"/>
          </a:xfrm>
          <a:prstGeom prst="rect">
            <a:avLst/>
          </a:prstGeom>
        </p:spPr>
        <p:txBody>
          <a:bodyPr vert="horz" lIns="0" tIns="0" rIns="0" bIns="0" rtlCol="0" anchor="b" anchorCtr="0"/>
          <a:lstStyle>
            <a:lvl1pPr algn="l">
              <a:defRPr sz="800" b="0">
                <a:solidFill>
                  <a:schemeClr val="accent1"/>
                </a:solidFill>
              </a:defRPr>
            </a:lvl1pPr>
          </a:lstStyle>
          <a:p>
            <a:endParaRPr lang="en-AU" dirty="0"/>
          </a:p>
        </p:txBody>
      </p:sp>
    </p:spTree>
    <p:extLst>
      <p:ext uri="{BB962C8B-B14F-4D97-AF65-F5344CB8AC3E}">
        <p14:creationId xmlns:p14="http://schemas.microsoft.com/office/powerpoint/2010/main" val="114372697"/>
      </p:ext>
    </p:extLst>
  </p:cSld>
  <p:clrMap bg1="lt1" tx1="dk1" bg2="lt2" tx2="dk2" accent1="accent1" accent2="accent2" accent3="accent3" accent4="accent4" accent5="accent5" accent6="accent6" hlink="hlink" folHlink="folHlink"/>
  <p:sldLayoutIdLst>
    <p:sldLayoutId id="2147484752" r:id="rId1"/>
    <p:sldLayoutId id="2147484753" r:id="rId2"/>
    <p:sldLayoutId id="2147484754" r:id="rId3"/>
    <p:sldLayoutId id="2147484755" r:id="rId4"/>
    <p:sldLayoutId id="2147484756" r:id="rId5"/>
    <p:sldLayoutId id="2147484757" r:id="rId6"/>
    <p:sldLayoutId id="2147484758" r:id="rId7"/>
    <p:sldLayoutId id="2147484759" r:id="rId8"/>
    <p:sldLayoutId id="2147484760" r:id="rId9"/>
    <p:sldLayoutId id="2147484761" r:id="rId10"/>
    <p:sldLayoutId id="2147484762" r:id="rId11"/>
    <p:sldLayoutId id="2147484763" r:id="rId12"/>
    <p:sldLayoutId id="2147484764" r:id="rId13"/>
    <p:sldLayoutId id="2147484765" r:id="rId14"/>
    <p:sldLayoutId id="2147484766" r:id="rId15"/>
    <p:sldLayoutId id="2147484767" r:id="rId16"/>
    <p:sldLayoutId id="2147484768" r:id="rId17"/>
    <p:sldLayoutId id="2147484769" r:id="rId18"/>
    <p:sldLayoutId id="2147484770" r:id="rId19"/>
    <p:sldLayoutId id="2147484771" r:id="rId20"/>
    <p:sldLayoutId id="2147484772" r:id="rId21"/>
    <p:sldLayoutId id="2147484773" r:id="rId22"/>
    <p:sldLayoutId id="2147484774" r:id="rId23"/>
    <p:sldLayoutId id="2147484775" r:id="rId24"/>
    <p:sldLayoutId id="2147484776" r:id="rId25"/>
    <p:sldLayoutId id="2147484777" r:id="rId26"/>
    <p:sldLayoutId id="2147484778" r:id="rId27"/>
    <p:sldLayoutId id="2147484779" r:id="rId28"/>
    <p:sldLayoutId id="2147484780" r:id="rId29"/>
    <p:sldLayoutId id="2147484781" r:id="rId30"/>
    <p:sldLayoutId id="2147484782" r:id="rId31"/>
    <p:sldLayoutId id="2147484783" r:id="rId32"/>
    <p:sldLayoutId id="2147484784" r:id="rId33"/>
    <p:sldLayoutId id="2147484785" r:id="rId34"/>
    <p:sldLayoutId id="2147484786" r:id="rId35"/>
    <p:sldLayoutId id="2147484787" r:id="rId36"/>
    <p:sldLayoutId id="2147484788" r:id="rId37"/>
    <p:sldLayoutId id="2147484789" r:id="rId38"/>
    <p:sldLayoutId id="2147484790" r:id="rId39"/>
    <p:sldLayoutId id="2147484791" r:id="rId40"/>
    <p:sldLayoutId id="2147484792" r:id="rId4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hf sldNum="0" hdr="0" dt="0"/>
  <p:txStyles>
    <p:titleStyle>
      <a:lvl1pPr algn="l" defTabSz="1088470" rtl="0" eaLnBrk="1" latinLnBrk="0" hangingPunct="1">
        <a:spcBef>
          <a:spcPct val="0"/>
        </a:spcBef>
        <a:buNone/>
        <a:defRPr sz="3467" b="1" kern="1200">
          <a:solidFill>
            <a:schemeClr val="accent1"/>
          </a:solidFill>
          <a:latin typeface="+mj-lt"/>
          <a:ea typeface="+mj-ea"/>
          <a:cs typeface="+mj-cs"/>
        </a:defRPr>
      </a:lvl1pPr>
    </p:titleStyle>
    <p:bodyStyle>
      <a:lvl1pPr marL="234945" indent="-234945" algn="l" defTabSz="1088470" rtl="0" eaLnBrk="1" latinLnBrk="0" hangingPunct="1">
        <a:spcBef>
          <a:spcPts val="508"/>
        </a:spcBef>
        <a:spcAft>
          <a:spcPts val="508"/>
        </a:spcAft>
        <a:buClr>
          <a:schemeClr val="accent2"/>
        </a:buClr>
        <a:buFont typeface="Wingdings" panose="05000000000000000000" pitchFamily="2" charset="2"/>
        <a:buChar char="§"/>
        <a:defRPr sz="2000" b="0" kern="1200">
          <a:solidFill>
            <a:schemeClr val="accent1"/>
          </a:solidFill>
          <a:latin typeface="+mn-lt"/>
          <a:ea typeface="+mn-ea"/>
          <a:cs typeface="+mn-cs"/>
        </a:defRPr>
      </a:lvl1pPr>
      <a:lvl2pPr marL="484705" indent="-249760" algn="l" defTabSz="1088470" rtl="0" eaLnBrk="1" latinLnBrk="0" hangingPunct="1">
        <a:spcBef>
          <a:spcPts val="253"/>
        </a:spcBef>
        <a:spcAft>
          <a:spcPts val="253"/>
        </a:spcAft>
        <a:buClr>
          <a:schemeClr val="accent2"/>
        </a:buClr>
        <a:buSzPct val="120000"/>
        <a:buFont typeface="Arial" panose="020B0604020202020204" pitchFamily="34" charset="0"/>
        <a:buChar char="›"/>
        <a:defRPr sz="2000" kern="1200">
          <a:solidFill>
            <a:schemeClr val="accent1"/>
          </a:solidFill>
          <a:latin typeface="+mn-lt"/>
          <a:ea typeface="+mn-ea"/>
          <a:cs typeface="+mn-cs"/>
        </a:defRPr>
      </a:lvl2pPr>
      <a:lvl3pPr marL="719649" indent="-234945" algn="l" defTabSz="1088470" rtl="0" eaLnBrk="1" latinLnBrk="0" hangingPunct="1">
        <a:spcBef>
          <a:spcPts val="253"/>
        </a:spcBef>
        <a:spcAft>
          <a:spcPts val="253"/>
        </a:spcAft>
        <a:buClr>
          <a:schemeClr val="accent2"/>
        </a:buClr>
        <a:buFont typeface="Arial" panose="020B0604020202020204" pitchFamily="34" charset="0"/>
        <a:buChar char="•"/>
        <a:defRPr sz="2000" kern="1200">
          <a:solidFill>
            <a:schemeClr val="accent1"/>
          </a:solidFill>
          <a:latin typeface="+mn-lt"/>
          <a:ea typeface="+mn-ea"/>
          <a:cs typeface="+mn-cs"/>
        </a:defRPr>
      </a:lvl3pPr>
      <a:lvl4pPr marL="1344" indent="0" algn="l" defTabSz="1088470" rtl="0" eaLnBrk="1" latinLnBrk="0" hangingPunct="1">
        <a:spcBef>
          <a:spcPts val="508"/>
        </a:spcBef>
        <a:spcAft>
          <a:spcPts val="508"/>
        </a:spcAft>
        <a:buClr>
          <a:schemeClr val="accent1"/>
        </a:buClr>
        <a:buFont typeface="Arial" panose="020B0604020202020204" pitchFamily="34" charset="0"/>
        <a:buNone/>
        <a:defRPr sz="2267" b="1" kern="1200" baseline="0">
          <a:solidFill>
            <a:srgbClr val="7F7F7F"/>
          </a:solidFill>
          <a:latin typeface="+mn-lt"/>
          <a:ea typeface="+mn-ea"/>
          <a:cs typeface="+mn-cs"/>
        </a:defRPr>
      </a:lvl4pPr>
      <a:lvl5pPr marL="0" indent="0" algn="l" defTabSz="1088470" rtl="0" eaLnBrk="1" latinLnBrk="0" hangingPunct="1">
        <a:spcBef>
          <a:spcPts val="253"/>
        </a:spcBef>
        <a:spcAft>
          <a:spcPts val="253"/>
        </a:spcAft>
        <a:buClr>
          <a:schemeClr val="accent1"/>
        </a:buClr>
        <a:buFont typeface="Arial" pitchFamily="34" charset="0"/>
        <a:buNone/>
        <a:defRPr sz="2000" b="1" kern="1200" baseline="0">
          <a:solidFill>
            <a:schemeClr val="accent2"/>
          </a:solidFill>
          <a:latin typeface="+mn-lt"/>
          <a:ea typeface="+mn-ea"/>
          <a:cs typeface="+mn-cs"/>
        </a:defRPr>
      </a:lvl5pPr>
      <a:lvl6pPr marL="299329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52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763"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998" indent="-272117" algn="l" defTabSz="108847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470" rtl="0" eaLnBrk="1" latinLnBrk="0" hangingPunct="1">
        <a:defRPr sz="2133" kern="1200">
          <a:solidFill>
            <a:schemeClr val="tx1"/>
          </a:solidFill>
          <a:latin typeface="+mn-lt"/>
          <a:ea typeface="+mn-ea"/>
          <a:cs typeface="+mn-cs"/>
        </a:defRPr>
      </a:lvl1pPr>
      <a:lvl2pPr marL="544236" algn="l" defTabSz="1088470" rtl="0" eaLnBrk="1" latinLnBrk="0" hangingPunct="1">
        <a:defRPr sz="2133" kern="1200">
          <a:solidFill>
            <a:schemeClr val="tx1"/>
          </a:solidFill>
          <a:latin typeface="+mn-lt"/>
          <a:ea typeface="+mn-ea"/>
          <a:cs typeface="+mn-cs"/>
        </a:defRPr>
      </a:lvl2pPr>
      <a:lvl3pPr marL="1088470" algn="l" defTabSz="1088470" rtl="0" eaLnBrk="1" latinLnBrk="0" hangingPunct="1">
        <a:defRPr sz="2133" kern="1200">
          <a:solidFill>
            <a:schemeClr val="tx1"/>
          </a:solidFill>
          <a:latin typeface="+mn-lt"/>
          <a:ea typeface="+mn-ea"/>
          <a:cs typeface="+mn-cs"/>
        </a:defRPr>
      </a:lvl3pPr>
      <a:lvl4pPr marL="1632706" algn="l" defTabSz="1088470" rtl="0" eaLnBrk="1" latinLnBrk="0" hangingPunct="1">
        <a:defRPr sz="2133" kern="1200">
          <a:solidFill>
            <a:schemeClr val="tx1"/>
          </a:solidFill>
          <a:latin typeface="+mn-lt"/>
          <a:ea typeface="+mn-ea"/>
          <a:cs typeface="+mn-cs"/>
        </a:defRPr>
      </a:lvl4pPr>
      <a:lvl5pPr marL="2176940" algn="l" defTabSz="1088470" rtl="0" eaLnBrk="1" latinLnBrk="0" hangingPunct="1">
        <a:defRPr sz="2133" kern="1200">
          <a:solidFill>
            <a:schemeClr val="tx1"/>
          </a:solidFill>
          <a:latin typeface="+mn-lt"/>
          <a:ea typeface="+mn-ea"/>
          <a:cs typeface="+mn-cs"/>
        </a:defRPr>
      </a:lvl5pPr>
      <a:lvl6pPr marL="2721175" algn="l" defTabSz="1088470" rtl="0" eaLnBrk="1" latinLnBrk="0" hangingPunct="1">
        <a:defRPr sz="2133" kern="1200">
          <a:solidFill>
            <a:schemeClr val="tx1"/>
          </a:solidFill>
          <a:latin typeface="+mn-lt"/>
          <a:ea typeface="+mn-ea"/>
          <a:cs typeface="+mn-cs"/>
        </a:defRPr>
      </a:lvl6pPr>
      <a:lvl7pPr marL="3265410" algn="l" defTabSz="1088470" rtl="0" eaLnBrk="1" latinLnBrk="0" hangingPunct="1">
        <a:defRPr sz="2133" kern="1200">
          <a:solidFill>
            <a:schemeClr val="tx1"/>
          </a:solidFill>
          <a:latin typeface="+mn-lt"/>
          <a:ea typeface="+mn-ea"/>
          <a:cs typeface="+mn-cs"/>
        </a:defRPr>
      </a:lvl7pPr>
      <a:lvl8pPr marL="3809645" algn="l" defTabSz="1088470" rtl="0" eaLnBrk="1" latinLnBrk="0" hangingPunct="1">
        <a:defRPr sz="2133" kern="1200">
          <a:solidFill>
            <a:schemeClr val="tx1"/>
          </a:solidFill>
          <a:latin typeface="+mn-lt"/>
          <a:ea typeface="+mn-ea"/>
          <a:cs typeface="+mn-cs"/>
        </a:defRPr>
      </a:lvl8pPr>
      <a:lvl9pPr marL="4353880" algn="l" defTabSz="1088470"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8">
          <p15:clr>
            <a:srgbClr val="F26B43"/>
          </p15:clr>
        </p15:guide>
        <p15:guide id="2" pos="200">
          <p15:clr>
            <a:srgbClr val="F26B43"/>
          </p15:clr>
        </p15:guide>
        <p15:guide id="4" pos="395">
          <p15:clr>
            <a:srgbClr val="F26B43"/>
          </p15:clr>
        </p15:guide>
        <p15:guide id="5" pos="491">
          <p15:clr>
            <a:srgbClr val="F26B43"/>
          </p15:clr>
        </p15:guide>
        <p15:guide id="6" pos="590">
          <p15:clr>
            <a:srgbClr val="F26B43"/>
          </p15:clr>
        </p15:guide>
        <p15:guide id="7" pos="686">
          <p15:clr>
            <a:srgbClr val="F26B43"/>
          </p15:clr>
        </p15:guide>
        <p15:guide id="9" pos="785">
          <p15:clr>
            <a:srgbClr val="F26B43"/>
          </p15:clr>
        </p15:guide>
        <p15:guide id="10" pos="882">
          <p15:clr>
            <a:srgbClr val="F26B43"/>
          </p15:clr>
        </p15:guide>
        <p15:guide id="11" pos="980">
          <p15:clr>
            <a:srgbClr val="F26B43"/>
          </p15:clr>
        </p15:guide>
        <p15:guide id="12" pos="1077">
          <p15:clr>
            <a:srgbClr val="F26B43"/>
          </p15:clr>
        </p15:guide>
        <p15:guide id="13" pos="1175">
          <p15:clr>
            <a:srgbClr val="F26B43"/>
          </p15:clr>
        </p15:guide>
        <p15:guide id="14" pos="1272">
          <p15:clr>
            <a:srgbClr val="F26B43"/>
          </p15:clr>
        </p15:guide>
        <p15:guide id="15" pos="1370">
          <p15:clr>
            <a:srgbClr val="F26B43"/>
          </p15:clr>
        </p15:guide>
        <p15:guide id="16" pos="1467">
          <p15:clr>
            <a:srgbClr val="F26B43"/>
          </p15:clr>
        </p15:guide>
        <p15:guide id="17" pos="1565">
          <p15:clr>
            <a:srgbClr val="F26B43"/>
          </p15:clr>
        </p15:guide>
        <p15:guide id="18" pos="1662">
          <p15:clr>
            <a:srgbClr val="F26B43"/>
          </p15:clr>
        </p15:guide>
        <p15:guide id="19" pos="1760">
          <p15:clr>
            <a:srgbClr val="F26B43"/>
          </p15:clr>
        </p15:guide>
        <p15:guide id="20" pos="1856">
          <p15:clr>
            <a:srgbClr val="F26B43"/>
          </p15:clr>
        </p15:guide>
        <p15:guide id="21" pos="1955">
          <p15:clr>
            <a:srgbClr val="F26B43"/>
          </p15:clr>
        </p15:guide>
        <p15:guide id="22" pos="2052">
          <p15:clr>
            <a:srgbClr val="F26B43"/>
          </p15:clr>
        </p15:guide>
        <p15:guide id="23" pos="2150">
          <p15:clr>
            <a:srgbClr val="F26B43"/>
          </p15:clr>
        </p15:guide>
        <p15:guide id="24" pos="2247">
          <p15:clr>
            <a:srgbClr val="F26B43"/>
          </p15:clr>
        </p15:guide>
        <p15:guide id="25" pos="2345">
          <p15:clr>
            <a:srgbClr val="F26B43"/>
          </p15:clr>
        </p15:guide>
        <p15:guide id="26" pos="2442">
          <p15:clr>
            <a:srgbClr val="F26B43"/>
          </p15:clr>
        </p15:guide>
        <p15:guide id="27" pos="2540">
          <p15:clr>
            <a:srgbClr val="F26B43"/>
          </p15:clr>
        </p15:guide>
        <p15:guide id="28" pos="2637">
          <p15:clr>
            <a:srgbClr val="F26B43"/>
          </p15:clr>
        </p15:guide>
        <p15:guide id="29" pos="2735">
          <p15:clr>
            <a:srgbClr val="F26B43"/>
          </p15:clr>
        </p15:guide>
        <p15:guide id="30" pos="2832">
          <p15:clr>
            <a:srgbClr val="F26B43"/>
          </p15:clr>
        </p15:guide>
        <p15:guide id="31" pos="2931">
          <p15:clr>
            <a:srgbClr val="F26B43"/>
          </p15:clr>
        </p15:guide>
        <p15:guide id="32" pos="3027">
          <p15:clr>
            <a:srgbClr val="F26B43"/>
          </p15:clr>
        </p15:guide>
        <p15:guide id="33" pos="3125">
          <p15:clr>
            <a:srgbClr val="F26B43"/>
          </p15:clr>
        </p15:guide>
        <p15:guide id="34" pos="3222">
          <p15:clr>
            <a:srgbClr val="F26B43"/>
          </p15:clr>
        </p15:guide>
        <p15:guide id="35" pos="3321">
          <p15:clr>
            <a:srgbClr val="F26B43"/>
          </p15:clr>
        </p15:guide>
        <p15:guide id="36" pos="3417">
          <p15:clr>
            <a:srgbClr val="F26B43"/>
          </p15:clr>
        </p15:guide>
        <p15:guide id="37" pos="3516">
          <p15:clr>
            <a:srgbClr val="F26B43"/>
          </p15:clr>
        </p15:guide>
        <p15:guide id="38" pos="3612">
          <p15:clr>
            <a:srgbClr val="F26B43"/>
          </p15:clr>
        </p15:guide>
        <p15:guide id="39" pos="3710">
          <p15:clr>
            <a:srgbClr val="F26B43"/>
          </p15:clr>
        </p15:guide>
        <p15:guide id="40" pos="3807">
          <p15:clr>
            <a:srgbClr val="F26B43"/>
          </p15:clr>
        </p15:guide>
        <p15:guide id="41" pos="4002">
          <p15:clr>
            <a:srgbClr val="F26B43"/>
          </p15:clr>
        </p15:guide>
        <p15:guide id="42" pos="4100">
          <p15:clr>
            <a:srgbClr val="F26B43"/>
          </p15:clr>
        </p15:guide>
        <p15:guide id="43" pos="4197">
          <p15:clr>
            <a:srgbClr val="F26B43"/>
          </p15:clr>
        </p15:guide>
        <p15:guide id="44" pos="4296">
          <p15:clr>
            <a:srgbClr val="F26B43"/>
          </p15:clr>
        </p15:guide>
        <p15:guide id="45" pos="4392">
          <p15:clr>
            <a:srgbClr val="F26B43"/>
          </p15:clr>
        </p15:guide>
        <p15:guide id="46" pos="4491">
          <p15:clr>
            <a:srgbClr val="F26B43"/>
          </p15:clr>
        </p15:guide>
        <p15:guide id="47" pos="4587">
          <p15:clr>
            <a:srgbClr val="F26B43"/>
          </p15:clr>
        </p15:guide>
        <p15:guide id="48" pos="4686">
          <p15:clr>
            <a:srgbClr val="F26B43"/>
          </p15:clr>
        </p15:guide>
        <p15:guide id="49" pos="4782">
          <p15:clr>
            <a:srgbClr val="F26B43"/>
          </p15:clr>
        </p15:guide>
        <p15:guide id="50" pos="4880">
          <p15:clr>
            <a:srgbClr val="F26B43"/>
          </p15:clr>
        </p15:guide>
        <p15:guide id="51" pos="4977">
          <p15:clr>
            <a:srgbClr val="F26B43"/>
          </p15:clr>
        </p15:guide>
        <p15:guide id="52" pos="5076">
          <p15:clr>
            <a:srgbClr val="F26B43"/>
          </p15:clr>
        </p15:guide>
        <p15:guide id="53" pos="5174">
          <p15:clr>
            <a:srgbClr val="F26B43"/>
          </p15:clr>
        </p15:guide>
        <p15:guide id="54" pos="5271">
          <p15:clr>
            <a:srgbClr val="F26B43"/>
          </p15:clr>
        </p15:guide>
        <p15:guide id="55" pos="5369">
          <p15:clr>
            <a:srgbClr val="F26B43"/>
          </p15:clr>
        </p15:guide>
        <p15:guide id="56" pos="5466">
          <p15:clr>
            <a:srgbClr val="F26B43"/>
          </p15:clr>
        </p15:guide>
        <p15:guide id="57" pos="5564">
          <p15:clr>
            <a:srgbClr val="F26B43"/>
          </p15:clr>
        </p15:guide>
        <p15:guide id="58" pos="5660">
          <p15:clr>
            <a:srgbClr val="F26B43"/>
          </p15:clr>
        </p15:guide>
        <p15:guide id="59" orient="horz" pos="234">
          <p15:clr>
            <a:srgbClr val="F26B43"/>
          </p15:clr>
        </p15:guide>
        <p15:guide id="60" orient="horz" pos="342">
          <p15:clr>
            <a:srgbClr val="F26B43"/>
          </p15:clr>
        </p15:guide>
        <p15:guide id="61" orient="horz" pos="447">
          <p15:clr>
            <a:srgbClr val="F26B43"/>
          </p15:clr>
        </p15:guide>
        <p15:guide id="70" orient="horz" pos="1300">
          <p15:clr>
            <a:srgbClr val="F26B43"/>
          </p15:clr>
        </p15:guide>
        <p15:guide id="71" orient="horz" pos="1514">
          <p15:clr>
            <a:srgbClr val="F26B43"/>
          </p15:clr>
        </p15:guide>
        <p15:guide id="73" orient="horz" pos="1620">
          <p15:clr>
            <a:srgbClr val="F26B43"/>
          </p15:clr>
        </p15:guide>
        <p15:guide id="74" orient="horz" pos="1726">
          <p15:clr>
            <a:srgbClr val="F26B43"/>
          </p15:clr>
        </p15:guide>
        <p15:guide id="75" orient="horz" pos="1834">
          <p15:clr>
            <a:srgbClr val="F26B43"/>
          </p15:clr>
        </p15:guide>
        <p15:guide id="76" orient="horz" pos="1940">
          <p15:clr>
            <a:srgbClr val="F26B43"/>
          </p15:clr>
        </p15:guide>
        <p15:guide id="77" orient="horz" pos="2046">
          <p15:clr>
            <a:srgbClr val="F26B43"/>
          </p15:clr>
        </p15:guide>
        <p15:guide id="78" orient="horz" pos="2152">
          <p15:clr>
            <a:srgbClr val="F26B43"/>
          </p15:clr>
        </p15:guide>
        <p15:guide id="79" orient="horz" pos="2260">
          <p15:clr>
            <a:srgbClr val="F26B43"/>
          </p15:clr>
        </p15:guide>
        <p15:guide id="80" orient="horz" pos="2366">
          <p15:clr>
            <a:srgbClr val="F26B43"/>
          </p15:clr>
        </p15:guide>
        <p15:guide id="81" orient="horz" pos="2470">
          <p15:clr>
            <a:srgbClr val="F26B43"/>
          </p15:clr>
        </p15:guide>
        <p15:guide id="82" orient="horz" pos="2576">
          <p15:clr>
            <a:srgbClr val="F26B43"/>
          </p15:clr>
        </p15:guide>
        <p15:guide id="83" orient="horz" pos="2684">
          <p15:clr>
            <a:srgbClr val="F26B43"/>
          </p15:clr>
        </p15:guide>
        <p15:guide id="84" orient="horz" pos="2790">
          <p15:clr>
            <a:srgbClr val="F26B43"/>
          </p15:clr>
        </p15:guide>
        <p15:guide id="85" orient="horz" pos="2896">
          <p15:clr>
            <a:srgbClr val="F26B43"/>
          </p15:clr>
        </p15:guide>
        <p15:guide id="86" orient="horz" pos="3004">
          <p15:clr>
            <a:srgbClr val="F26B43"/>
          </p15:clr>
        </p15:guide>
        <p15:guide id="87" orient="horz" pos="3110">
          <p15:clr>
            <a:srgbClr val="F26B43"/>
          </p15:clr>
        </p15:guide>
        <p15:guide id="89" orient="horz" pos="555">
          <p15:clr>
            <a:srgbClr val="F26B43"/>
          </p15:clr>
        </p15:guide>
        <p15:guide id="90" orient="horz" pos="660">
          <p15:clr>
            <a:srgbClr val="F26B43"/>
          </p15:clr>
        </p15:guide>
        <p15:guide id="91" orient="horz" pos="768">
          <p15:clr>
            <a:srgbClr val="F26B43"/>
          </p15:clr>
        </p15:guide>
        <p15:guide id="92" orient="horz" pos="873">
          <p15:clr>
            <a:srgbClr val="F26B43"/>
          </p15:clr>
        </p15:guide>
        <p15:guide id="93" orient="horz" pos="981">
          <p15:clr>
            <a:srgbClr val="F26B43"/>
          </p15:clr>
        </p15:guide>
        <p15:guide id="94" orient="horz" pos="1086">
          <p15:clr>
            <a:srgbClr val="F26B43"/>
          </p15:clr>
        </p15:guide>
        <p15:guide id="95" orient="horz" pos="1194">
          <p15:clr>
            <a:srgbClr val="F26B43"/>
          </p15:clr>
        </p15:guide>
        <p15:guide id="96" orient="horz" pos="1406">
          <p15:clr>
            <a:srgbClr val="F26B43"/>
          </p15:clr>
        </p15:guide>
        <p15:guide id="97" pos="3905">
          <p15:clr>
            <a:srgbClr val="F26B43"/>
          </p15:clr>
        </p15:guide>
        <p15:guide id="99" pos="297">
          <p15:clr>
            <a:srgbClr val="F26B43"/>
          </p15:clr>
        </p15:guide>
        <p15:guide id="100" pos="10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9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4.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a:t>Lorem ipsum </a:t>
            </a:r>
            <a:r>
              <a:rPr lang="fr-FR" err="1"/>
              <a:t>dolor</a:t>
            </a:r>
            <a:endParaRPr lang="fr-FR"/>
          </a:p>
          <a:p>
            <a:pPr lvl="1"/>
            <a:r>
              <a:rPr lang="fr-FR"/>
              <a:t>Deuxième niveau</a:t>
            </a:r>
          </a:p>
          <a:p>
            <a:pPr lvl="2"/>
            <a:r>
              <a:rPr lang="fr-FR"/>
              <a:t>Duis niveau</a:t>
            </a:r>
          </a:p>
          <a:p>
            <a:pPr lvl="3"/>
            <a:r>
              <a:rPr lang="fr-FR"/>
              <a:t>Lorem niveau</a:t>
            </a:r>
          </a:p>
          <a:p>
            <a:pPr lvl="4"/>
            <a:r>
              <a:rPr lang="fr-FR"/>
              <a:t>Cinquième niveau</a:t>
            </a:r>
            <a:endParaRPr lang="en-US"/>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err="1"/>
              <a:t>Title</a:t>
            </a:r>
            <a:r>
              <a:rPr lang="fr-FR"/>
              <a:t>,</a:t>
            </a:r>
            <a:endParaRPr lang="en-US"/>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8207253"/>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 id="2147484363" r:id="rId32"/>
    <p:sldLayoutId id="2147484364" r:id="rId33"/>
    <p:sldLayoutId id="2147484365" r:id="rId34"/>
    <p:sldLayoutId id="2147484366" r:id="rId35"/>
    <p:sldLayoutId id="2147484367" r:id="rId36"/>
    <p:sldLayoutId id="2147484368" r:id="rId37"/>
    <p:sldLayoutId id="2147484369" r:id="rId38"/>
    <p:sldLayoutId id="2147484370" r:id="rId39"/>
    <p:sldLayoutId id="2147484371" r:id="rId40"/>
    <p:sldLayoutId id="2147484372" r:id="rId41"/>
    <p:sldLayoutId id="2147484373" r:id="rId42"/>
    <p:sldLayoutId id="2147484374" r:id="rId43"/>
    <p:sldLayoutId id="2147484375" r:id="rId44"/>
    <p:sldLayoutId id="2147484376" r:id="rId45"/>
    <p:sldLayoutId id="2147484377" r:id="rId46"/>
    <p:sldLayoutId id="2147484378" r:id="rId47"/>
    <p:sldLayoutId id="2147484379" r:id="rId48"/>
    <p:sldLayoutId id="2147484380" r:id="rId49"/>
    <p:sldLayoutId id="2147484381" r:id="rId50"/>
    <p:sldLayoutId id="2147484382" r:id="rId51"/>
    <p:sldLayoutId id="2147484383" r:id="rId52"/>
    <p:sldLayoutId id="2147484384" r:id="rId53"/>
    <p:sldLayoutId id="2147484385" r:id="rId54"/>
    <p:sldLayoutId id="2147484386" r:id="rId55"/>
    <p:sldLayoutId id="2147484387" r:id="rId56"/>
    <p:sldLayoutId id="2147484388" r:id="rId57"/>
    <p:sldLayoutId id="2147484389" r:id="rId58"/>
    <p:sldLayoutId id="2147484390" r:id="rId59"/>
    <p:sldLayoutId id="2147484391" r:id="rId60"/>
    <p:sldLayoutId id="2147484392" r:id="rId61"/>
    <p:sldLayoutId id="2147484393" r:id="rId62"/>
    <p:sldLayoutId id="2147484394" r:id="rId63"/>
    <p:sldLayoutId id="2147484566" r:id="rId64"/>
    <p:sldLayoutId id="2147484567" r:id="rId65"/>
    <p:sldLayoutId id="2147484568" r:id="rId66"/>
    <p:sldLayoutId id="2147484569" r:id="rId67"/>
    <p:sldLayoutId id="2147484570" r:id="rId68"/>
    <p:sldLayoutId id="2147484571" r:id="rId69"/>
    <p:sldLayoutId id="2147484572" r:id="rId70"/>
    <p:sldLayoutId id="2147484573" r:id="rId71"/>
    <p:sldLayoutId id="2147484574" r:id="rId72"/>
    <p:sldLayoutId id="2147484575" r:id="rId73"/>
    <p:sldLayoutId id="2147484576" r:id="rId74"/>
    <p:sldLayoutId id="2147484577" r:id="rId75"/>
    <p:sldLayoutId id="2147484578" r:id="rId76"/>
    <p:sldLayoutId id="2147484579" r:id="rId77"/>
    <p:sldLayoutId id="2147484580" r:id="rId78"/>
    <p:sldLayoutId id="2147484581" r:id="rId79"/>
    <p:sldLayoutId id="2147484582" r:id="rId80"/>
    <p:sldLayoutId id="2147484583" r:id="rId81"/>
    <p:sldLayoutId id="2147484584" r:id="rId82"/>
    <p:sldLayoutId id="2147484585" r:id="rId83"/>
    <p:sldLayoutId id="2147484586" r:id="rId84"/>
    <p:sldLayoutId id="2147484587" r:id="rId85"/>
    <p:sldLayoutId id="2147484588" r:id="rId86"/>
    <p:sldLayoutId id="2147484589" r:id="rId87"/>
    <p:sldLayoutId id="2147484590" r:id="rId88"/>
    <p:sldLayoutId id="2147484591" r:id="rId89"/>
    <p:sldLayoutId id="2147484592" r:id="rId90"/>
    <p:sldLayoutId id="2147484593" r:id="rId91"/>
    <p:sldLayoutId id="2147484594" r:id="rId92"/>
    <p:sldLayoutId id="2147484595" r:id="rId93"/>
    <p:sldLayoutId id="2147484596" r:id="rId94"/>
    <p:sldLayoutId id="2147484681" r:id="rId9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4.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8"/>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3301708461"/>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 id="2147484428" r:id="rId29"/>
    <p:sldLayoutId id="2147484429" r:id="rId30"/>
    <p:sldLayoutId id="2147484430" r:id="rId31"/>
    <p:sldLayoutId id="2147484431" r:id="rId32"/>
    <p:sldLayoutId id="2147484432" r:id="rId33"/>
    <p:sldLayoutId id="2147484433" r:id="rId34"/>
    <p:sldLayoutId id="214748443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082F1A-762F-44CE-8B97-0AED8BA799CE}"/>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a:extLst>
              <a:ext uri="{FF2B5EF4-FFF2-40B4-BE49-F238E27FC236}">
                <a16:creationId xmlns:a16="http://schemas.microsoft.com/office/drawing/2014/main" id="{1161A556-6220-474E-B219-634D90CF897D}"/>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CF50046D-1DB7-4819-9E20-BD08C6320EE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a:extLst>
              <a:ext uri="{FF2B5EF4-FFF2-40B4-BE49-F238E27FC236}">
                <a16:creationId xmlns:a16="http://schemas.microsoft.com/office/drawing/2014/main" id="{74BA3831-3B60-46F9-9C09-0F7758B644FF}"/>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D5459566-C6A5-4DDC-BBB6-96E3239448AD}"/>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D30639DF-56F6-40DE-A28E-B739E3CD65CC}"/>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1E281DA-6578-42AC-8BBF-7A8FFD4D19FF}"/>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1E8D8170-8CED-46B0-8C3C-3CF0396D263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35D2A8F8-9923-4E16-BDE4-C3B7D396BEA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72B2F369-7F76-4892-8889-7A1FDC93DCA5}"/>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42E59ADB-C54A-4566-BF3D-8D7281602CE6}"/>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E917DE0E-AFB1-41FD-BC35-27DB61CA125F}" type="slidenum">
              <a:rPr lang="en-AU" smtClean="0"/>
              <a:pPr/>
              <a:t>‹#›</a:t>
            </a:fld>
            <a:endParaRPr lang="en-AU"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4.  All rights Reserved</a:t>
            </a:r>
            <a:endParaRPr lang="en-AU" dirty="0"/>
          </a:p>
        </p:txBody>
      </p:sp>
      <p:sp>
        <p:nvSpPr>
          <p:cNvPr id="3" name="Text Placeholder 2"/>
          <p:cNvSpPr>
            <a:spLocks noGrp="1"/>
          </p:cNvSpPr>
          <p:nvPr>
            <p:ph type="body" idx="1"/>
          </p:nvPr>
        </p:nvSpPr>
        <p:spPr>
          <a:xfrm>
            <a:off x="443279" y="1622320"/>
            <a:ext cx="11269295" cy="1092607"/>
          </a:xfrm>
          <a:prstGeom prst="rect">
            <a:avLst/>
          </a:prstGeom>
        </p:spPr>
        <p:txBody>
          <a:bodyPr vert="horz" wrap="square" lIns="0" tIns="0" rIns="0" bIns="0" rtlCol="0">
            <a:spAutoFit/>
          </a:bodyPr>
          <a:lstStyle/>
          <a:p>
            <a:pPr lvl="0"/>
            <a:r>
              <a:rPr lang="fr-FR"/>
              <a:t>Lorem ipsum </a:t>
            </a:r>
            <a:r>
              <a:rPr lang="fr-FR" err="1"/>
              <a:t>dolor</a:t>
            </a:r>
            <a:endParaRPr lang="fr-FR"/>
          </a:p>
          <a:p>
            <a:pPr lvl="1"/>
            <a:r>
              <a:rPr lang="fr-FR"/>
              <a:t>Deuxième niveau</a:t>
            </a:r>
          </a:p>
          <a:p>
            <a:pPr lvl="2"/>
            <a:r>
              <a:rPr lang="fr-FR"/>
              <a:t>Duis niveau</a:t>
            </a:r>
          </a:p>
          <a:p>
            <a:pPr lvl="3"/>
            <a:r>
              <a:rPr lang="fr-FR"/>
              <a:t>Lorem niveau</a:t>
            </a:r>
          </a:p>
          <a:p>
            <a:pPr lvl="4"/>
            <a:r>
              <a:rPr lang="fr-FR"/>
              <a:t>Cinquième niveau</a:t>
            </a:r>
            <a:endParaRPr lang="en-US"/>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err="1"/>
              <a:t>Title</a:t>
            </a:r>
            <a:r>
              <a:rPr lang="fr-FR"/>
              <a:t>,</a:t>
            </a:r>
            <a:endParaRPr lang="en-US"/>
          </a:p>
        </p:txBody>
      </p:sp>
      <p:graphicFrame>
        <p:nvGraphicFramePr>
          <p:cNvPr id="19" name="Object 18" hidden="1">
            <a:extLst>
              <a:ext uri="{FF2B5EF4-FFF2-40B4-BE49-F238E27FC236}">
                <a16:creationId xmlns:a16="http://schemas.microsoft.com/office/drawing/2014/main" id="{491F0AD1-9F7D-4B06-B6C9-8D3FB519B683}"/>
              </a:ext>
            </a:extLst>
          </p:cNvPr>
          <p:cNvGraphicFramePr>
            <a:graphicFrameLocks noChangeAspect="1"/>
          </p:cNvGraphicFramePr>
          <p:nvPr userDrawn="1">
            <p:custDataLst>
              <p:tags r:id="rId34"/>
            </p:custDataLst>
            <p:extLst>
              <p:ext uri="{D42A27DB-BD31-4B8C-83A1-F6EECF244321}">
                <p14:modId xmlns:p14="http://schemas.microsoft.com/office/powerpoint/2010/main" val="396116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98" imgH="499" progId="TCLayout.ActiveDocument.1">
                  <p:embed/>
                </p:oleObj>
              </mc:Choice>
              <mc:Fallback>
                <p:oleObj name="think-cell Slide" r:id="rId36" imgW="498" imgH="499" progId="TCLayout.ActiveDocument.1">
                  <p:embed/>
                  <p:pic>
                    <p:nvPicPr>
                      <p:cNvPr id="19" name="Object 18" hidden="1">
                        <a:extLst>
                          <a:ext uri="{FF2B5EF4-FFF2-40B4-BE49-F238E27FC236}">
                            <a16:creationId xmlns:a16="http://schemas.microsoft.com/office/drawing/2014/main" id="{491F0AD1-9F7D-4B06-B6C9-8D3FB519B68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2943250"/>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 id="2147484452" r:id="rId17"/>
    <p:sldLayoutId id="2147484453" r:id="rId18"/>
    <p:sldLayoutId id="2147484454" r:id="rId19"/>
    <p:sldLayoutId id="2147484455" r:id="rId20"/>
    <p:sldLayoutId id="2147484456" r:id="rId21"/>
    <p:sldLayoutId id="2147484457" r:id="rId22"/>
    <p:sldLayoutId id="2147484458" r:id="rId23"/>
    <p:sldLayoutId id="2147484459" r:id="rId24"/>
    <p:sldLayoutId id="2147484460" r:id="rId25"/>
    <p:sldLayoutId id="2147484461" r:id="rId26"/>
    <p:sldLayoutId id="2147484462" r:id="rId27"/>
    <p:sldLayoutId id="2147484463" r:id="rId28"/>
    <p:sldLayoutId id="2147484464" r:id="rId29"/>
    <p:sldLayoutId id="2147484465" r:id="rId30"/>
    <p:sldLayoutId id="2147484466" r:id="rId31"/>
    <p:sldLayoutId id="2147484467"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0"/>
        </a:spcBef>
        <a:buFont typeface="Arial" panose="020B0604020202020204" pitchFamily="34" charset="0"/>
        <a:buNone/>
        <a:defRPr sz="1250" kern="1200">
          <a:solidFill>
            <a:schemeClr val="tx2"/>
          </a:solidFill>
          <a:latin typeface="+mn-lt"/>
          <a:ea typeface="+mn-ea"/>
          <a:cs typeface="+mn-cs"/>
        </a:defRPr>
      </a:lvl1pPr>
      <a:lvl2pPr marL="180000" indent="-180000" algn="l" defTabSz="914377" rtl="0" eaLnBrk="1" latinLnBrk="0" hangingPunct="1">
        <a:lnSpc>
          <a:spcPct val="100000"/>
        </a:lnSpc>
        <a:spcBef>
          <a:spcPts val="0"/>
        </a:spcBef>
        <a:spcAft>
          <a:spcPts val="600"/>
        </a:spcAft>
        <a:buClr>
          <a:srgbClr val="EE0000"/>
        </a:buClr>
        <a:buFont typeface="Arial" panose="020B0604020202020204" pitchFamily="34" charset="0"/>
        <a:buChar char="‒"/>
        <a:defRPr sz="1250" b="1" kern="1200">
          <a:solidFill>
            <a:srgbClr val="2A295C"/>
          </a:solidFill>
          <a:latin typeface="+mn-lt"/>
          <a:ea typeface="+mn-ea"/>
          <a:cs typeface="+mn-cs"/>
        </a:defRPr>
      </a:lvl2pPr>
      <a:lvl3pPr marL="756000" indent="-144000" algn="l" defTabSz="914377" rtl="0" eaLnBrk="1" latinLnBrk="0" hangingPunct="1">
        <a:lnSpc>
          <a:spcPct val="100000"/>
        </a:lnSpc>
        <a:spcBef>
          <a:spcPts val="0"/>
        </a:spcBef>
        <a:buClr>
          <a:schemeClr val="tx2"/>
        </a:buClr>
        <a:buSzPct val="80000"/>
        <a:buFont typeface="Arial" panose="020B0604020202020204" pitchFamily="34" charset="0"/>
        <a:buChar char="•"/>
        <a:defRPr sz="1250" kern="1200">
          <a:solidFill>
            <a:schemeClr val="tx2"/>
          </a:solidFill>
          <a:latin typeface="+mn-lt"/>
          <a:ea typeface="+mn-ea"/>
          <a:cs typeface="+mn-cs"/>
        </a:defRPr>
      </a:lvl3pPr>
      <a:lvl4pPr marL="1080000" indent="-108000" algn="l" defTabSz="914377" rtl="0" eaLnBrk="1" latinLnBrk="0" hangingPunct="1">
        <a:lnSpc>
          <a:spcPct val="100000"/>
        </a:lnSpc>
        <a:spcBef>
          <a:spcPts val="0"/>
        </a:spcBef>
        <a:buClr>
          <a:schemeClr val="tx2"/>
        </a:buClr>
        <a:buFont typeface="Arial" panose="020B0604020202020204" pitchFamily="34" charset="0"/>
        <a:buChar char="-"/>
        <a:defRPr sz="1250" kern="1200">
          <a:solidFill>
            <a:schemeClr val="tx2"/>
          </a:solidFill>
          <a:latin typeface="+mn-lt"/>
          <a:ea typeface="+mn-ea"/>
          <a:cs typeface="+mn-cs"/>
        </a:defRPr>
      </a:lvl4pPr>
      <a:lvl5pPr marL="0" indent="0" algn="l" defTabSz="914377" rtl="0" eaLnBrk="1" latinLnBrk="0" hangingPunct="1">
        <a:lnSpc>
          <a:spcPct val="10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4.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8"/>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2665955955"/>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 id="2147484478" r:id="rId10"/>
    <p:sldLayoutId id="2147484479" r:id="rId11"/>
    <p:sldLayoutId id="2147484480" r:id="rId12"/>
    <p:sldLayoutId id="2147484481" r:id="rId13"/>
    <p:sldLayoutId id="2147484482" r:id="rId14"/>
    <p:sldLayoutId id="2147484483" r:id="rId15"/>
    <p:sldLayoutId id="2147484484" r:id="rId16"/>
    <p:sldLayoutId id="2147484485" r:id="rId17"/>
    <p:sldLayoutId id="2147484486" r:id="rId18"/>
    <p:sldLayoutId id="2147484487" r:id="rId19"/>
    <p:sldLayoutId id="2147484488" r:id="rId20"/>
    <p:sldLayoutId id="2147484489" r:id="rId21"/>
    <p:sldLayoutId id="2147484490" r:id="rId22"/>
    <p:sldLayoutId id="2147484491" r:id="rId23"/>
    <p:sldLayoutId id="2147484492" r:id="rId24"/>
    <p:sldLayoutId id="2147484493" r:id="rId25"/>
    <p:sldLayoutId id="2147484494" r:id="rId26"/>
    <p:sldLayoutId id="2147484495" r:id="rId27"/>
    <p:sldLayoutId id="2147484496" r:id="rId28"/>
    <p:sldLayoutId id="2147484497" r:id="rId29"/>
    <p:sldLayoutId id="2147484498" r:id="rId30"/>
    <p:sldLayoutId id="2147484499" r:id="rId31"/>
    <p:sldLayoutId id="2147484500" r:id="rId32"/>
    <p:sldLayoutId id="2147484501" r:id="rId33"/>
    <p:sldLayoutId id="2147484502" r:id="rId34"/>
    <p:sldLayoutId id="2147484503"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8">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ly 2024.  All rights Reserved</a:t>
            </a:r>
            <a:endParaRPr lang="en-US" noProof="0" dirty="0"/>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9"/>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dirty="0"/>
          </a:p>
        </p:txBody>
      </p:sp>
    </p:spTree>
    <p:extLst>
      <p:ext uri="{BB962C8B-B14F-4D97-AF65-F5344CB8AC3E}">
        <p14:creationId xmlns:p14="http://schemas.microsoft.com/office/powerpoint/2010/main" val="2418737320"/>
      </p:ext>
    </p:extLst>
  </p:cSld>
  <p:clrMap bg1="lt1" tx1="dk1" bg2="lt2" tx2="dk2" accent1="accent1" accent2="accent2" accent3="accent3" accent4="accent4" accent5="accent5" accent6="accent6" hlink="hlink" folHlink="folHlink"/>
  <p:sldLayoutIdLst>
    <p:sldLayoutId id="2147484600" r:id="rId1"/>
    <p:sldLayoutId id="2147484601" r:id="rId2"/>
    <p:sldLayoutId id="2147484602" r:id="rId3"/>
    <p:sldLayoutId id="2147484603" r:id="rId4"/>
    <p:sldLayoutId id="2147484604" r:id="rId5"/>
    <p:sldLayoutId id="2147484605" r:id="rId6"/>
    <p:sldLayoutId id="2147484606" r:id="rId7"/>
    <p:sldLayoutId id="2147484607" r:id="rId8"/>
    <p:sldLayoutId id="2147484608" r:id="rId9"/>
    <p:sldLayoutId id="2147484609" r:id="rId10"/>
    <p:sldLayoutId id="2147484610" r:id="rId11"/>
    <p:sldLayoutId id="2147484611" r:id="rId12"/>
    <p:sldLayoutId id="2147484612" r:id="rId13"/>
    <p:sldLayoutId id="2147484613" r:id="rId14"/>
    <p:sldLayoutId id="2147484614" r:id="rId15"/>
    <p:sldLayoutId id="2147484615" r:id="rId16"/>
    <p:sldLayoutId id="2147484616" r:id="rId17"/>
    <p:sldLayoutId id="2147484617" r:id="rId18"/>
    <p:sldLayoutId id="2147484618" r:id="rId19"/>
    <p:sldLayoutId id="2147484619" r:id="rId20"/>
    <p:sldLayoutId id="2147484620" r:id="rId21"/>
    <p:sldLayoutId id="2147484621" r:id="rId22"/>
    <p:sldLayoutId id="2147484622" r:id="rId23"/>
    <p:sldLayoutId id="2147484623" r:id="rId24"/>
    <p:sldLayoutId id="2147484624" r:id="rId25"/>
    <p:sldLayoutId id="2147484625" r:id="rId26"/>
    <p:sldLayoutId id="2147484626" r:id="rId27"/>
    <p:sldLayoutId id="2147484627" r:id="rId28"/>
    <p:sldLayoutId id="2147484628" r:id="rId29"/>
    <p:sldLayoutId id="2147484629" r:id="rId30"/>
    <p:sldLayoutId id="2147484630" r:id="rId31"/>
    <p:sldLayoutId id="2147484631" r:id="rId32"/>
    <p:sldLayoutId id="2147484632" r:id="rId33"/>
    <p:sldLayoutId id="2147484633" r:id="rId34"/>
    <p:sldLayoutId id="2147484634" r:id="rId35"/>
    <p:sldLayoutId id="2147484635"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4.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8992058"/>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 id="2147484648" r:id="rId12"/>
    <p:sldLayoutId id="2147484649" r:id="rId13"/>
    <p:sldLayoutId id="2147484650" r:id="rId14"/>
    <p:sldLayoutId id="2147484651" r:id="rId15"/>
    <p:sldLayoutId id="2147484652" r:id="rId16"/>
    <p:sldLayoutId id="2147484653" r:id="rId17"/>
    <p:sldLayoutId id="2147484654" r:id="rId18"/>
    <p:sldLayoutId id="2147484655" r:id="rId19"/>
    <p:sldLayoutId id="2147484656" r:id="rId20"/>
    <p:sldLayoutId id="2147484657" r:id="rId21"/>
    <p:sldLayoutId id="2147484658" r:id="rId22"/>
    <p:sldLayoutId id="2147484659" r:id="rId23"/>
    <p:sldLayoutId id="2147484660" r:id="rId24"/>
    <p:sldLayoutId id="2147484661" r:id="rId25"/>
    <p:sldLayoutId id="2147484662" r:id="rId26"/>
    <p:sldLayoutId id="2147484663" r:id="rId27"/>
    <p:sldLayoutId id="2147484664" r:id="rId28"/>
    <p:sldLayoutId id="2147484665" r:id="rId29"/>
    <p:sldLayoutId id="2147484666" r:id="rId30"/>
    <p:sldLayoutId id="2147484667" r:id="rId31"/>
    <p:sldLayoutId id="2147484668"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F8F5E0-4406-9905-231F-D687A898DA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22FE3D-078D-A004-A553-B485308685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6DE18D-EBC0-4E72-09C3-7633EF29EE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F0E03BA2-6817-3C06-64B3-06BD5FE96C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Unit Controller Call Series © Sodexo, July 2024.  All rights Reserved</a:t>
            </a:r>
            <a:endParaRPr lang="en-US" dirty="0"/>
          </a:p>
        </p:txBody>
      </p:sp>
      <p:sp>
        <p:nvSpPr>
          <p:cNvPr id="6" name="Slide Number Placeholder 5">
            <a:extLst>
              <a:ext uri="{FF2B5EF4-FFF2-40B4-BE49-F238E27FC236}">
                <a16:creationId xmlns:a16="http://schemas.microsoft.com/office/drawing/2014/main" id="{835E2656-69FC-F59E-8F5F-74EF59E1AB2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C771F8-2517-468B-B246-795D9054CC4D}" type="slidenum">
              <a:rPr lang="en-US" smtClean="0"/>
              <a:t>‹#›</a:t>
            </a:fld>
            <a:endParaRPr lang="en-US" dirty="0"/>
          </a:p>
        </p:txBody>
      </p:sp>
    </p:spTree>
    <p:extLst>
      <p:ext uri="{BB962C8B-B14F-4D97-AF65-F5344CB8AC3E}">
        <p14:creationId xmlns:p14="http://schemas.microsoft.com/office/powerpoint/2010/main" val="24817429"/>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ly 2024.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3148526"/>
      </p:ext>
    </p:extLst>
  </p:cSld>
  <p:clrMap bg1="lt1" tx1="dk1" bg2="lt2" tx2="dk2" accent1="accent1" accent2="accent2" accent3="accent3" accent4="accent4" accent5="accent5" accent6="accent6" hlink="hlink" folHlink="folHlink"/>
  <p:sldLayoutIdLst>
    <p:sldLayoutId id="2147484683" r:id="rId1"/>
    <p:sldLayoutId id="2147484684" r:id="rId2"/>
    <p:sldLayoutId id="2147484685" r:id="rId3"/>
    <p:sldLayoutId id="2147484686" r:id="rId4"/>
    <p:sldLayoutId id="2147484687" r:id="rId5"/>
    <p:sldLayoutId id="2147484688" r:id="rId6"/>
    <p:sldLayoutId id="2147484689" r:id="rId7"/>
    <p:sldLayoutId id="2147484690" r:id="rId8"/>
    <p:sldLayoutId id="2147484691" r:id="rId9"/>
    <p:sldLayoutId id="2147484692" r:id="rId10"/>
    <p:sldLayoutId id="2147484693" r:id="rId11"/>
    <p:sldLayoutId id="2147484694" r:id="rId12"/>
    <p:sldLayoutId id="2147484695" r:id="rId13"/>
    <p:sldLayoutId id="2147484696" r:id="rId14"/>
    <p:sldLayoutId id="2147484697" r:id="rId15"/>
    <p:sldLayoutId id="2147484698" r:id="rId16"/>
    <p:sldLayoutId id="2147484699" r:id="rId17"/>
    <p:sldLayoutId id="2147484700" r:id="rId18"/>
    <p:sldLayoutId id="2147484701" r:id="rId19"/>
    <p:sldLayoutId id="2147484702" r:id="rId20"/>
    <p:sldLayoutId id="2147484703" r:id="rId21"/>
    <p:sldLayoutId id="2147484704" r:id="rId22"/>
    <p:sldLayoutId id="2147484705" r:id="rId23"/>
    <p:sldLayoutId id="2147484706" r:id="rId24"/>
    <p:sldLayoutId id="2147484707" r:id="rId25"/>
    <p:sldLayoutId id="2147484708" r:id="rId26"/>
    <p:sldLayoutId id="2147484709" r:id="rId27"/>
    <p:sldLayoutId id="2147484710" r:id="rId28"/>
    <p:sldLayoutId id="2147484711" r:id="rId29"/>
    <p:sldLayoutId id="2147484712" r:id="rId30"/>
    <p:sldLayoutId id="2147484713" r:id="rId31"/>
    <p:sldLayoutId id="2147484714"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71.xml"/><Relationship Id="rId6" Type="http://schemas.openxmlformats.org/officeDocument/2006/relationships/hyperlink" Target="mailto:corinne.szabo@sodexo.com" TargetMode="External"/><Relationship Id="rId5" Type="http://schemas.openxmlformats.org/officeDocument/2006/relationships/image" Target="../media/image3.jpeg"/><Relationship Id="rId4" Type="http://schemas.openxmlformats.org/officeDocument/2006/relationships/hyperlink" Target="https://researchleap.com/contemporary-data-science-finance-students-comparative-study-essential-features-commonly-used-statistical-software/" TargetMode="External"/></Relationships>
</file>

<file path=ppt/slides/_rels/slide10.xml.rels><?xml version="1.0" encoding="UTF-8" standalone="yes"?>
<Relationships xmlns="http://schemas.openxmlformats.org/package/2006/relationships"><Relationship Id="rId2" Type="http://schemas.openxmlformats.org/officeDocument/2006/relationships/hyperlink" Target="mailto:AccountsReceivableNorAm@sodexo.com" TargetMode="External"/><Relationship Id="rId1" Type="http://schemas.openxmlformats.org/officeDocument/2006/relationships/slideLayout" Target="../slideLayouts/slideLayout45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3.xml.rels><?xml version="1.0" encoding="UTF-8" standalone="yes"?>
<Relationships xmlns="http://schemas.openxmlformats.org/package/2006/relationships"><Relationship Id="rId3" Type="http://schemas.openxmlformats.org/officeDocument/2006/relationships/hyperlink" Target="https://sodexo.csod.com/ui/lms-learning-details/app/course/0de5ca88-6fc2-48d3-9ed8-60f0873a510c" TargetMode="External"/><Relationship Id="rId2" Type="http://schemas.openxmlformats.org/officeDocument/2006/relationships/notesSlide" Target="../notesSlides/notesSlide9.xml"/><Relationship Id="rId1" Type="http://schemas.openxmlformats.org/officeDocument/2006/relationships/slideLayout" Target="../slideLayouts/slideLayout82.xml"/><Relationship Id="rId4" Type="http://schemas.openxmlformats.org/officeDocument/2006/relationships/hyperlink" Target="https://us.sodexonet.com/files/live/sites/sdxnet-us/files/Tools-Resources/Guidelines-Standards/Operations/Accounting/TOPS%20-%20Inventory%20Management%2003.06.19.pdf"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82.xml"/><Relationship Id="rId5" Type="http://schemas.openxmlformats.org/officeDocument/2006/relationships/image" Target="../media/image19.sv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82.xml"/><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5.xml"/></Relationships>
</file>

<file path=ppt/slides/_rels/slide2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us.sodexonet.com/home/tools-x0026-resources/guidelines-and-standards/operations/accountingx002c-finance-x0026-in/audit-and-compliance/subject-matter-expert-calls-and-.html" TargetMode="External"/><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5.xml"/></Relationships>
</file>

<file path=ppt/slides/_rels/slide23.xml.rels><?xml version="1.0" encoding="UTF-8" standalone="yes"?>
<Relationships xmlns="http://schemas.openxmlformats.org/package/2006/relationships"><Relationship Id="rId3" Type="http://schemas.openxmlformats.org/officeDocument/2006/relationships/hyperlink" Target="mailto:Stephen.Dabrowski@sodexo.comLaurie.Edgar@sodexo.com" TargetMode="External"/><Relationship Id="rId7" Type="http://schemas.openxmlformats.org/officeDocument/2006/relationships/hyperlink" Target="mailto:Rubylyn.Tantoy@sodexo.com" TargetMode="External"/><Relationship Id="rId2" Type="http://schemas.openxmlformats.org/officeDocument/2006/relationships/notesSlide" Target="../notesSlides/notesSlide19.xml"/><Relationship Id="rId1" Type="http://schemas.openxmlformats.org/officeDocument/2006/relationships/slideLayout" Target="../slideLayouts/slideLayout165.xml"/><Relationship Id="rId6" Type="http://schemas.openxmlformats.org/officeDocument/2006/relationships/hyperlink" Target="mailto:Yvonne.Daloise@sodexo.com" TargetMode="External"/><Relationship Id="rId5" Type="http://schemas.openxmlformats.org/officeDocument/2006/relationships/hyperlink" Target="mailto:Chad.Mayerhofer@sodexo.com" TargetMode="External"/><Relationship Id="rId4" Type="http://schemas.openxmlformats.org/officeDocument/2006/relationships/hyperlink" Target="mailto:Laurie.Edgar@sodexo.co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8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 Id="rId9"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2.xml"/><Relationship Id="rId1" Type="http://schemas.openxmlformats.org/officeDocument/2006/relationships/slideLayout" Target="../slideLayouts/slideLayout372.xml"/><Relationship Id="rId4" Type="http://schemas.openxmlformats.org/officeDocument/2006/relationships/hyperlink" Target="http://sclohonet.blogspot.com/2010_12_19_archive.html"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hyperlink" Target="https://sodexo-ism.ivanticloud.com/Modules/SelfService/?NoDefaultProvider=True#knowledgeBase" TargetMode="External"/><Relationship Id="rId3" Type="http://schemas.openxmlformats.org/officeDocument/2006/relationships/hyperlink" Target="https://sodexo-ism.ivanticloud.com/" TargetMode="External"/><Relationship Id="rId7" Type="http://schemas.openxmlformats.org/officeDocument/2006/relationships/hyperlink" Target="https://sodexo-my.sharepoint.com/:v:/p/john_wruck/EYO4hP_cM7lKkD2XXFnv6OsBmnQjgjReu-MRuDEbo1xziA" TargetMode="External"/><Relationship Id="rId2" Type="http://schemas.openxmlformats.org/officeDocument/2006/relationships/notesSlide" Target="../notesSlides/notesSlide24.xml"/><Relationship Id="rId1" Type="http://schemas.openxmlformats.org/officeDocument/2006/relationships/slideLayout" Target="../slideLayouts/slideLayout33.xml"/><Relationship Id="rId6" Type="http://schemas.openxmlformats.org/officeDocument/2006/relationships/hyperlink" Target="https://sodexo-my.sharepoint.com/:v:/p/john_wruck/EdtPaEw73V9Aq5VCgQ9QF9oBWdypwnY0EkXKaLQCl_AAfA" TargetMode="External"/><Relationship Id="rId5" Type="http://schemas.openxmlformats.org/officeDocument/2006/relationships/hyperlink" Target="https://sodexo-my.sharepoint.com/:v:/p/john_wruck/ETZWliPGEeZJtq-5OX--jK4BH3EjkrVcSc7KqMpoPZgHdw" TargetMode="External"/><Relationship Id="rId4" Type="http://schemas.openxmlformats.org/officeDocument/2006/relationships/hyperlink" Target="https://sodexo-my.sharepoint.com/:p:/p/john_wruck/ETP3Di5OceRCrNFnFH7sjv8BckGBN-2QokuWHDumpE3y-w?e=L3iUxY&amp;isSPOFile=1"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sodexo-ism.ivanticloud.com/Modules/SelfService/?NoDefaultProvider=True#knowledgeBase" TargetMode="External"/><Relationship Id="rId3" Type="http://schemas.openxmlformats.org/officeDocument/2006/relationships/oleObject" Target="../embeddings/oleObject2.bin"/><Relationship Id="rId7" Type="http://schemas.openxmlformats.org/officeDocument/2006/relationships/hyperlink" Target="https://gates.sodexonet.com/adfs/ls/?SAMLRequest=jZJfT8IwFMW%2fytL3rbDxbw0jmRADCSph6IMvpnQXaNK12NshfnvLphFjYnxt77nnd047Rl6pI8trd9BreK0BXbCYZeSljEWSCIAwTss07PX6ozAdddNw2%2bvGZeovhkMgwRNYlEZnJI46JFgg1rDQ6Lh2%2fqgT98LOMIyTTXfAOn2WDJ5JMPMOUnPXqA7OHZFRuucOMEJTwtlocJEwFeXlDqlCSoJbYwU0hBnZcYXed2WNM8KoG6lLqfcZqa1mhqNEpnkFyJxgRX63ZJ6LbdshZPPNZhWuHooNCXJEsBeIqdFYV2ALsCcp4HG9%2fMZqgUKJVSRPPpMUytRlQ3fgulQ%2bPEU0tPAd%2flo4bycijoczCc6V0siasv%2bGPX4mI5PxZZo1ndor%2fd9y%2foVBJv9IMaZXHq3hkd37pYvZyigp3oNcKfM2teAfKCPO1r57OmllP3%2fN5AM%3d&amp;RelayState=Y2NjNzc2NDYtYjIxNC00OTk2LTlhM2MtYTc1MjJmMjhhMDFl&amp;SigAlg=http%3a%2f%2fwww.w3.org%2f2001%2f04%2fxmldsig-more%23rsa-sha256&amp;Signature=l830W8v%2fIWVmf4bh1RAj3uHwBwcxWL%2bXmEkWpb67vKUjZMzOsR%2fJFVkg9T2anNV6g%2bHuioxiWNvhpaYQkmxP1qQ6zKL%2b8pgo2du4oCWlyu3pKVzHkO7%2f33rnaTAoXNJ4vRfMlMGhpyhvQlVXzMIRpn8HEzxK4sleXS%2b3qwD9%2b9tRTu7caSl2dT0jFRp2FzOL9j4dGP3vikeuApCu6%2br%2bLGxvL%2buj34ZeWgdnscrCq4ArzL%2bwkAK3fDGTIq1S0W5V6AjVYtx9kSVQ6t4NceNvJawusE2ykZdWKxz2t98nyHiiEyz5v1Nrw4Bt%2foQhwfOf%2fYd6WSu5JO1KqyEsSvJG%2fQ%3d%3d" TargetMode="External"/><Relationship Id="rId2" Type="http://schemas.openxmlformats.org/officeDocument/2006/relationships/notesSlide" Target="../notesSlides/notesSlide25.xml"/><Relationship Id="rId1" Type="http://schemas.openxmlformats.org/officeDocument/2006/relationships/slideLayout" Target="../slideLayouts/slideLayout33.xml"/><Relationship Id="rId6" Type="http://schemas.openxmlformats.org/officeDocument/2006/relationships/image" Target="../media/image34.emf"/><Relationship Id="rId5" Type="http://schemas.openxmlformats.org/officeDocument/2006/relationships/oleObject" Target="../embeddings/oleObject3.bin"/><Relationship Id="rId4" Type="http://schemas.openxmlformats.org/officeDocument/2006/relationships/image" Target="../media/image33.emf"/></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08.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74.xml"/></Relationships>
</file>

<file path=ppt/slides/_rels/slide3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30.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230.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hyperlink" Target="https://www.ready.gov/thunderstorms-lightning" TargetMode="External"/><Relationship Id="rId2" Type="http://schemas.openxmlformats.org/officeDocument/2006/relationships/notesSlide" Target="../notesSlides/notesSlide4.xml"/><Relationship Id="rId1" Type="http://schemas.openxmlformats.org/officeDocument/2006/relationships/slideLayout" Target="../slideLayouts/slideLayout336.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3.xml"/></Relationships>
</file>

<file path=ppt/slides/_rels/slide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7.xml"/><Relationship Id="rId1" Type="http://schemas.openxmlformats.org/officeDocument/2006/relationships/slideLayout" Target="../slideLayouts/slideLayout414.xml"/><Relationship Id="rId4" Type="http://schemas.openxmlformats.org/officeDocument/2006/relationships/hyperlink" Target="mailto:AccountsReceivableNorAm@sodexo.com"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3.xml"/></Relationships>
</file>

<file path=ppt/slides/_rels/slide9.xml.rels><?xml version="1.0" encoding="UTF-8" standalone="yes"?>
<Relationships xmlns="http://schemas.openxmlformats.org/package/2006/relationships"><Relationship Id="rId2" Type="http://schemas.openxmlformats.org/officeDocument/2006/relationships/hyperlink" Target="mailto:CRSTeam.Noram@sodexo.com" TargetMode="External"/><Relationship Id="rId1" Type="http://schemas.openxmlformats.org/officeDocument/2006/relationships/slideLayout" Target="../slideLayouts/slideLayout4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Espace réservé pour une image  18">
            <a:extLst>
              <a:ext uri="{FF2B5EF4-FFF2-40B4-BE49-F238E27FC236}">
                <a16:creationId xmlns:a16="http://schemas.microsoft.com/office/drawing/2014/main" id="{5A212904-CC48-4D14-8BC8-6B20DF95998A}"/>
              </a:ext>
            </a:extLst>
          </p:cNvPr>
          <p:cNvPicPr>
            <a:picLocks noGrp="1" noChangeAspect="1"/>
          </p:cNvPicPr>
          <p:nvPr>
            <p:ph type="pic" sz="quarter" idx="64"/>
          </p:nvPr>
        </p:nvPicPr>
        <p:blipFill rotWithShape="1">
          <a:blip r:embed="rId3">
            <a:alphaModFix amt="35000"/>
            <a:extLst>
              <a:ext uri="{837473B0-CC2E-450A-ABE3-18F120FF3D39}">
                <a1611:picAttrSrcUrl xmlns:a1611="http://schemas.microsoft.com/office/drawing/2016/11/main" r:id="rId4"/>
              </a:ext>
            </a:extLst>
          </a:blip>
          <a:srcRect l="219" r="12061"/>
          <a:stretch/>
        </p:blipFill>
        <p:spPr>
          <a:xfrm>
            <a:off x="20" y="10"/>
            <a:ext cx="12191980" cy="6857990"/>
          </a:xfrm>
          <a:noFill/>
        </p:spPr>
      </p:pic>
      <p:sp>
        <p:nvSpPr>
          <p:cNvPr id="24" name="Text Placeholder 2">
            <a:extLst>
              <a:ext uri="{FF2B5EF4-FFF2-40B4-BE49-F238E27FC236}">
                <a16:creationId xmlns:a16="http://schemas.microsoft.com/office/drawing/2014/main" id="{7B08A79D-1288-CF8C-15B5-C442C157FE4A}"/>
              </a:ext>
              <a:ext uri="{C183D7F6-B498-43B3-948B-1728B52AA6E4}">
                <adec:decorative xmlns:adec="http://schemas.microsoft.com/office/drawing/2017/decorative" val="1"/>
              </a:ext>
            </a:extLst>
          </p:cNvPr>
          <p:cNvSpPr>
            <a:spLocks noGrp="1"/>
          </p:cNvSpPr>
          <p:nvPr>
            <p:ph type="body" sz="quarter" idx="60"/>
          </p:nvPr>
        </p:nvSpPr>
        <p:spPr>
          <a:xfrm>
            <a:off x="0" y="34225"/>
            <a:ext cx="4419600" cy="407100"/>
          </a:xfrm>
        </p:spPr>
        <p:txBody>
          <a:bodyPr/>
          <a:lstStyle/>
          <a:p>
            <a:endParaRPr lang="en-US" dirty="0"/>
          </a:p>
        </p:txBody>
      </p:sp>
      <p:sp>
        <p:nvSpPr>
          <p:cNvPr id="12" name="Espace réservé du texte 11">
            <a:extLst>
              <a:ext uri="{FF2B5EF4-FFF2-40B4-BE49-F238E27FC236}">
                <a16:creationId xmlns:a16="http://schemas.microsoft.com/office/drawing/2014/main" id="{04CCDEDE-3192-43B4-BD99-14D93EDF55E0}"/>
              </a:ext>
              <a:ext uri="{C183D7F6-B498-43B3-948B-1728B52AA6E4}">
                <adec:decorative xmlns:adec="http://schemas.microsoft.com/office/drawing/2017/decorative" val="0"/>
              </a:ext>
            </a:extLst>
          </p:cNvPr>
          <p:cNvSpPr>
            <a:spLocks noGrp="1"/>
          </p:cNvSpPr>
          <p:nvPr>
            <p:ph type="title" idx="4294967295"/>
          </p:nvPr>
        </p:nvSpPr>
        <p:spPr>
          <a:xfrm>
            <a:off x="0" y="441325"/>
            <a:ext cx="4419600" cy="3206750"/>
          </a:xfrm>
          <a:prstGeom prst="round2SameRect">
            <a:avLst>
              <a:gd name="adj1" fmla="val 0"/>
              <a:gd name="adj2" fmla="val 12536"/>
            </a:avLst>
          </a:prstGeom>
          <a:blipFill>
            <a:blip r:embed="rId5"/>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rmAutofit/>
          </a:bodyPr>
          <a:lstStyle/>
          <a:p>
            <a:pPr marL="0" marR="0" lvl="0" indent="0" algn="l" defTabSz="91437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fr-FR" sz="3700" b="1" i="0" u="none" strike="noStrike" kern="1200" cap="none" spc="0" normalizeH="0" baseline="0" noProof="0" dirty="0">
                <a:ln>
                  <a:noFill/>
                </a:ln>
                <a:solidFill>
                  <a:schemeClr val="tx2"/>
                </a:solidFill>
                <a:effectLst/>
                <a:uLnTx/>
                <a:uFillTx/>
                <a:latin typeface="+mn-lt"/>
                <a:ea typeface="+mn-ea"/>
                <a:cs typeface="+mn-cs"/>
              </a:rPr>
              <a:t>FY24 Unit Controller Call </a:t>
            </a:r>
            <a:r>
              <a:rPr kumimoji="0" lang="en-US" sz="3700" b="1" i="0" u="none" strike="noStrike" kern="1200" cap="none" spc="0" normalizeH="0" baseline="0" noProof="0" dirty="0">
                <a:ln>
                  <a:noFill/>
                </a:ln>
                <a:solidFill>
                  <a:schemeClr val="tx2"/>
                </a:solidFill>
                <a:effectLst/>
                <a:uLnTx/>
                <a:uFillTx/>
                <a:latin typeface="+mn-lt"/>
                <a:ea typeface="+mn-ea"/>
                <a:cs typeface="+mn-cs"/>
              </a:rPr>
              <a:t>Series</a:t>
            </a:r>
          </a:p>
          <a:p>
            <a:pPr marL="0" marR="0" lvl="1" indent="0" algn="l" defTabSz="914377" rtl="0" eaLnBrk="1" fontAlgn="auto" latinLnBrk="0" hangingPunct="1">
              <a:lnSpc>
                <a:spcPct val="75000"/>
              </a:lnSpc>
              <a:spcBef>
                <a:spcPts val="0"/>
              </a:spcBef>
              <a:spcAft>
                <a:spcPts val="600"/>
              </a:spcAft>
              <a:buClr>
                <a:srgbClr val="EE0000"/>
              </a:buClr>
              <a:buSzTx/>
              <a:buFont typeface="Arial" panose="020B0604020202020204" pitchFamily="34" charset="0"/>
              <a:buNone/>
              <a:tabLst/>
              <a:defRPr/>
            </a:pPr>
            <a:r>
              <a:rPr lang="en-US" sz="3700" kern="1200" dirty="0">
                <a:solidFill>
                  <a:schemeClr val="tx2"/>
                </a:solidFill>
                <a:latin typeface="+mn-lt"/>
                <a:ea typeface="+mn-ea"/>
                <a:cs typeface="+mn-cs"/>
              </a:rPr>
              <a:t>July</a:t>
            </a:r>
            <a:r>
              <a:rPr lang="fr-FR" sz="3700" kern="1200" dirty="0">
                <a:solidFill>
                  <a:schemeClr val="tx2"/>
                </a:solidFill>
                <a:latin typeface="+mn-lt"/>
                <a:ea typeface="+mn-ea"/>
                <a:cs typeface="+mn-cs"/>
              </a:rPr>
              <a:t>, 2024</a:t>
            </a:r>
            <a:endParaRPr kumimoji="0" lang="fr-FR" sz="3700" b="0" i="0" u="none" strike="noStrike" kern="1200" cap="none" spc="0" normalizeH="0" baseline="0" noProof="0" dirty="0">
              <a:ln>
                <a:noFill/>
              </a:ln>
              <a:solidFill>
                <a:schemeClr val="tx2"/>
              </a:solidFill>
              <a:effectLst/>
              <a:uLnTx/>
              <a:uFillTx/>
              <a:latin typeface="+mn-lt"/>
              <a:ea typeface="+mn-ea"/>
              <a:cs typeface="+mn-cs"/>
            </a:endParaRPr>
          </a:p>
        </p:txBody>
      </p:sp>
      <p:sp>
        <p:nvSpPr>
          <p:cNvPr id="2" name="TextBox 1">
            <a:extLst>
              <a:ext uri="{FF2B5EF4-FFF2-40B4-BE49-F238E27FC236}">
                <a16:creationId xmlns:a16="http://schemas.microsoft.com/office/drawing/2014/main" id="{89F4A397-4405-4D1C-308E-6BB848B6DE4E}"/>
              </a:ext>
            </a:extLst>
          </p:cNvPr>
          <p:cNvSpPr txBox="1"/>
          <p:nvPr/>
        </p:nvSpPr>
        <p:spPr>
          <a:xfrm>
            <a:off x="7713233" y="5982250"/>
            <a:ext cx="4130936" cy="46166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hlinkClick r:id="rId6">
                  <a:extLst>
                    <a:ext uri="{A12FA001-AC4F-418D-AE19-62706E023703}">
                      <ahyp:hlinkClr xmlns:ahyp="http://schemas.microsoft.com/office/drawing/2018/hyperlinkcolor" val="tx"/>
                    </a:ext>
                  </a:extLst>
                </a:hlinkClick>
              </a:rPr>
              <a:t>corinne.szabo@sodexo.com</a:t>
            </a:r>
            <a:endParaRPr kumimoji="0" lang="en-US" sz="2400" b="0" i="0" u="none" strike="noStrike" kern="1200" cap="none" spc="0" normalizeH="0" baseline="0" noProof="0" dirty="0">
              <a:ln>
                <a:noFill/>
              </a:ln>
              <a:solidFill>
                <a:srgbClr val="283897"/>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048BD1A5-A154-3B93-ADEE-94CB3A4DF0B7}"/>
              </a:ext>
            </a:extLst>
          </p:cNvPr>
          <p:cNvGrpSpPr/>
          <p:nvPr/>
        </p:nvGrpSpPr>
        <p:grpSpPr>
          <a:xfrm>
            <a:off x="0" y="3869867"/>
            <a:ext cx="4999582" cy="2343215"/>
            <a:chOff x="290011" y="4480560"/>
            <a:chExt cx="4999582" cy="2343215"/>
          </a:xfrm>
        </p:grpSpPr>
        <p:sp>
          <p:nvSpPr>
            <p:cNvPr id="4" name="Flowchart: Sequential Access Storage 3">
              <a:extLst>
                <a:ext uri="{FF2B5EF4-FFF2-40B4-BE49-F238E27FC236}">
                  <a16:creationId xmlns:a16="http://schemas.microsoft.com/office/drawing/2014/main" id="{41901E72-79D1-534D-C1DD-D7D15E0FC68D}"/>
                </a:ext>
              </a:extLst>
            </p:cNvPr>
            <p:cNvSpPr/>
            <p:nvPr/>
          </p:nvSpPr>
          <p:spPr>
            <a:xfrm>
              <a:off x="290011" y="4480560"/>
              <a:ext cx="4709591" cy="2343215"/>
            </a:xfrm>
            <a:prstGeom prst="flowChartMagneticTap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43EE17B-FB5B-4725-BAB6-E993EA1958A4}"/>
                </a:ext>
              </a:extLst>
            </p:cNvPr>
            <p:cNvSpPr txBox="1"/>
            <p:nvPr/>
          </p:nvSpPr>
          <p:spPr>
            <a:xfrm>
              <a:off x="869993" y="4860521"/>
              <a:ext cx="4419600" cy="1636089"/>
            </a:xfrm>
            <a:prstGeom prst="rect">
              <a:avLst/>
            </a:prstGeom>
            <a:noFill/>
          </p:spPr>
          <p:txBody>
            <a:bodyPr wrap="square" rtlCol="0">
              <a:spAutoFit/>
            </a:bodyPr>
            <a:lstStyle/>
            <a:p>
              <a:pPr marL="0" marR="0" lvl="0" indent="0" algn="l" defTabSz="1088470" rtl="0" eaLnBrk="1" fontAlgn="auto" latinLnBrk="0" hangingPunct="1">
                <a:lnSpc>
                  <a:spcPct val="100000"/>
                </a:lnSpc>
                <a:spcBef>
                  <a:spcPts val="0"/>
                </a:spcBef>
                <a:spcAft>
                  <a:spcPts val="600"/>
                </a:spcAft>
                <a:buClrTx/>
                <a:buSzTx/>
                <a:buFontTx/>
                <a:buNone/>
                <a:tabLst/>
                <a:defRPr/>
              </a:pPr>
              <a:r>
                <a:rPr kumimoji="0" lang="en-US" sz="2133" b="0" i="0" u="none" strike="noStrike" kern="0" cap="none" spc="0" normalizeH="0" baseline="0" noProof="0" dirty="0">
                  <a:ln>
                    <a:noFill/>
                  </a:ln>
                  <a:solidFill>
                    <a:prstClr val="white"/>
                  </a:solidFill>
                  <a:effectLst/>
                  <a:uLnTx/>
                  <a:uFillTx/>
                  <a:latin typeface="Arial" panose="020B0604020202020204"/>
                  <a:ea typeface="+mn-ea"/>
                  <a:cs typeface="+mn-cs"/>
                </a:rPr>
                <a:t>We’ll get started momentarily</a:t>
              </a:r>
            </a:p>
            <a:p>
              <a:pPr marL="0" marR="0" lvl="0" indent="0" algn="l" defTabSz="1088470" rtl="0" eaLnBrk="1" fontAlgn="auto" latinLnBrk="0" hangingPunct="1">
                <a:lnSpc>
                  <a:spcPct val="100000"/>
                </a:lnSpc>
                <a:spcBef>
                  <a:spcPts val="0"/>
                </a:spcBef>
                <a:spcAft>
                  <a:spcPts val="600"/>
                </a:spcAft>
                <a:buClrTx/>
                <a:buSzTx/>
                <a:buFontTx/>
                <a:buNone/>
                <a:tabLst/>
                <a:defRPr/>
              </a:pPr>
              <a:r>
                <a:rPr kumimoji="0" lang="en-US" sz="2133" b="0" i="0" u="none" strike="noStrike" kern="0" cap="none" spc="0" normalizeH="0" baseline="0" noProof="0" dirty="0">
                  <a:ln>
                    <a:noFill/>
                  </a:ln>
                  <a:solidFill>
                    <a:prstClr val="white"/>
                  </a:solidFill>
                  <a:effectLst/>
                  <a:uLnTx/>
                  <a:uFillTx/>
                  <a:latin typeface="Arial" panose="020B0604020202020204"/>
                  <a:ea typeface="+mn-ea"/>
                  <a:cs typeface="+mn-cs"/>
                </a:rPr>
                <a:t>PLEASE keep lines muted</a:t>
              </a:r>
            </a:p>
            <a:p>
              <a:pPr marL="0" marR="0" lvl="0" indent="0" algn="l" defTabSz="1088470" rtl="0" eaLnBrk="1" fontAlgn="auto" latinLnBrk="0" hangingPunct="1">
                <a:lnSpc>
                  <a:spcPct val="100000"/>
                </a:lnSpc>
                <a:spcBef>
                  <a:spcPts val="0"/>
                </a:spcBef>
                <a:spcAft>
                  <a:spcPts val="600"/>
                </a:spcAft>
                <a:buClrTx/>
                <a:buSzTx/>
                <a:buFontTx/>
                <a:buNone/>
                <a:tabLst/>
                <a:defRPr/>
              </a:pPr>
              <a:endParaRPr kumimoji="0" lang="en-US" sz="2133" b="0" i="0" u="none" strike="noStrike" kern="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1088470" rtl="0" eaLnBrk="1" fontAlgn="auto" latinLnBrk="0" hangingPunct="1">
                <a:lnSpc>
                  <a:spcPct val="100000"/>
                </a:lnSpc>
                <a:spcBef>
                  <a:spcPts val="0"/>
                </a:spcBef>
                <a:spcAft>
                  <a:spcPts val="600"/>
                </a:spcAft>
                <a:buClrTx/>
                <a:buSzTx/>
                <a:buFontTx/>
                <a:buNone/>
                <a:tabLst/>
                <a:defRPr/>
              </a:pPr>
              <a:r>
                <a:rPr kumimoji="0" lang="en-US" sz="2133" b="0" i="0" u="none" strike="noStrike" kern="0" cap="none" spc="0" normalizeH="0" baseline="0" noProof="0" dirty="0">
                  <a:ln>
                    <a:noFill/>
                  </a:ln>
                  <a:solidFill>
                    <a:prstClr val="white"/>
                  </a:solidFill>
                  <a:effectLst/>
                  <a:uLnTx/>
                  <a:uFillTx/>
                  <a:latin typeface="Arial" panose="020B0604020202020204"/>
                  <a:ea typeface="+mn-ea"/>
                  <a:cs typeface="+mn-cs"/>
                </a:rPr>
                <a:t>This call will be recorded</a:t>
              </a:r>
            </a:p>
          </p:txBody>
        </p:sp>
      </p:grpSp>
    </p:spTree>
    <p:extLst>
      <p:ext uri="{BB962C8B-B14F-4D97-AF65-F5344CB8AC3E}">
        <p14:creationId xmlns:p14="http://schemas.microsoft.com/office/powerpoint/2010/main" val="6078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ayment Fraud">
            <a:extLst>
              <a:ext uri="{FF2B5EF4-FFF2-40B4-BE49-F238E27FC236}">
                <a16:creationId xmlns:a16="http://schemas.microsoft.com/office/drawing/2014/main" id="{842DD7FE-B3B5-473B-BED5-19E81F1F963F}"/>
              </a:ext>
            </a:extLst>
          </p:cNvPr>
          <p:cNvSpPr>
            <a:spLocks noGrp="1"/>
          </p:cNvSpPr>
          <p:nvPr>
            <p:ph type="title"/>
          </p:nvPr>
        </p:nvSpPr>
        <p:spPr>
          <a:xfrm>
            <a:off x="546520" y="350332"/>
            <a:ext cx="10926077" cy="710552"/>
          </a:xfrm>
          <a:solidFill>
            <a:srgbClr val="25359C"/>
          </a:solidFill>
        </p:spPr>
        <p:txBody>
          <a:bodyPr anchor="ctr"/>
          <a:lstStyle/>
          <a:p>
            <a:r>
              <a:rPr lang="en-US" sz="3200" dirty="0">
                <a:solidFill>
                  <a:schemeClr val="bg1"/>
                </a:solidFill>
              </a:rPr>
              <a:t>Payment Fraud</a:t>
            </a:r>
          </a:p>
        </p:txBody>
      </p:sp>
      <p:sp>
        <p:nvSpPr>
          <p:cNvPr id="3" name="Text Placeholder 2" descr="Threat Actors are continuing their efforts posing as Sodexo employee to commit fraud against our clients. &#10;&#10;Tell customers NEVER to conduct electronic funds transactions with Sodexo via email. &#10;Always call the AR Department to verify any requests and to check the sender’s domain&#10;&#10;Ensure that any requests for funds transfer received have 2nd and/or 3rd level validation procedures in place (i.e., DM/GM approvals, always call your customer to verify legitimacy etc.)&#10;&#10;Using email for financial transactions in general is strongly discouraged&#10;&#10;Immediately contact FSS Accounts Receivables department if you suspect possible fraud at:  AccountsReceivable.NorAm@sodexo.com or 1-800-828-7762, Option 2, Option 2 &#10;&#10;Thank you, your actions are making a difference!&#10;">
            <a:extLst>
              <a:ext uri="{FF2B5EF4-FFF2-40B4-BE49-F238E27FC236}">
                <a16:creationId xmlns:a16="http://schemas.microsoft.com/office/drawing/2014/main" id="{B0D606DB-7AD7-458F-B550-45E1957F9C53}"/>
              </a:ext>
              <a:ext uri="{C183D7F6-B498-43B3-948B-1728B52AA6E4}">
                <adec:decorative xmlns:adec="http://schemas.microsoft.com/office/drawing/2017/decorative" val="0"/>
              </a:ext>
            </a:extLst>
          </p:cNvPr>
          <p:cNvSpPr>
            <a:spLocks noGrp="1"/>
          </p:cNvSpPr>
          <p:nvPr>
            <p:ph type="body" sz="quarter" idx="12"/>
          </p:nvPr>
        </p:nvSpPr>
        <p:spPr>
          <a:xfrm>
            <a:off x="546520" y="1220755"/>
            <a:ext cx="11022088" cy="4931637"/>
          </a:xfrm>
        </p:spPr>
        <p:txBody>
          <a:bodyPr>
            <a:normAutofit fontScale="70000" lnSpcReduction="20000"/>
          </a:bodyPr>
          <a:lstStyle/>
          <a:p>
            <a:pPr marL="0" indent="0">
              <a:buNone/>
            </a:pPr>
            <a:r>
              <a:rPr lang="en-US" sz="2667" dirty="0">
                <a:solidFill>
                  <a:srgbClr val="FF0000"/>
                </a:solidFill>
              </a:rPr>
              <a:t>Threat Actors are continuing their efforts posing as Sodexo employee to commit fraud against our clients</a:t>
            </a:r>
            <a:r>
              <a:rPr lang="en-US" sz="2667" dirty="0">
                <a:solidFill>
                  <a:schemeClr val="tx1"/>
                </a:solidFill>
              </a:rPr>
              <a:t>. </a:t>
            </a:r>
          </a:p>
          <a:p>
            <a:pPr marL="0" indent="0">
              <a:buNone/>
            </a:pPr>
            <a:endParaRPr lang="en-US" sz="2133" dirty="0">
              <a:solidFill>
                <a:schemeClr val="tx1"/>
              </a:solidFill>
            </a:endParaRPr>
          </a:p>
          <a:p>
            <a:pPr marL="852467" lvl="1" indent="-380990">
              <a:buFont typeface="Wingdings" panose="05000000000000000000" pitchFamily="2" charset="2"/>
              <a:buChar char="§"/>
            </a:pPr>
            <a:r>
              <a:rPr lang="en-US" sz="2800" dirty="0">
                <a:solidFill>
                  <a:schemeClr val="tx1"/>
                </a:solidFill>
              </a:rPr>
              <a:t>Tell customers </a:t>
            </a:r>
            <a:r>
              <a:rPr lang="en-US" sz="2800" b="1" dirty="0">
                <a:solidFill>
                  <a:schemeClr val="tx1"/>
                </a:solidFill>
              </a:rPr>
              <a:t>NEVER</a:t>
            </a:r>
            <a:r>
              <a:rPr lang="en-US" sz="2800" dirty="0">
                <a:solidFill>
                  <a:schemeClr val="tx1"/>
                </a:solidFill>
              </a:rPr>
              <a:t> to conduct electronic funds transactions with Sodexo via email. </a:t>
            </a:r>
            <a:br>
              <a:rPr lang="en-US" sz="2800" dirty="0">
                <a:solidFill>
                  <a:schemeClr val="tx1"/>
                </a:solidFill>
              </a:rPr>
            </a:br>
            <a:r>
              <a:rPr lang="en-US" sz="2800" dirty="0">
                <a:solidFill>
                  <a:schemeClr val="tx1"/>
                </a:solidFill>
              </a:rPr>
              <a:t>Always call the AR Department to verify any requests and to check the sender’s domain</a:t>
            </a:r>
          </a:p>
          <a:p>
            <a:pPr lvl="1" indent="0">
              <a:buNone/>
            </a:pPr>
            <a:endParaRPr lang="en-US" sz="2800" dirty="0">
              <a:solidFill>
                <a:schemeClr val="tx1"/>
              </a:solidFill>
            </a:endParaRPr>
          </a:p>
          <a:p>
            <a:pPr marL="852467" lvl="1" indent="-380990">
              <a:buFont typeface="Wingdings" panose="05000000000000000000" pitchFamily="2" charset="2"/>
              <a:buChar char="§"/>
            </a:pPr>
            <a:r>
              <a:rPr lang="en-US" sz="2667" dirty="0">
                <a:solidFill>
                  <a:schemeClr val="tx1"/>
                </a:solidFill>
              </a:rPr>
              <a:t>Ensure that any requests for funds transfer received have 2nd and/or 3rd level validation procedures in place (i.e., DM/GM approvals, always call your customer to verify legitimacy etc.)</a:t>
            </a:r>
          </a:p>
          <a:p>
            <a:pPr lvl="1" indent="0">
              <a:buNone/>
            </a:pPr>
            <a:endParaRPr lang="en-US" sz="2667" dirty="0">
              <a:solidFill>
                <a:schemeClr val="tx1"/>
              </a:solidFill>
            </a:endParaRPr>
          </a:p>
          <a:p>
            <a:pPr marL="852467" lvl="1" indent="-380990">
              <a:buFont typeface="Wingdings" panose="05000000000000000000" pitchFamily="2" charset="2"/>
              <a:buChar char="§"/>
            </a:pPr>
            <a:r>
              <a:rPr lang="en-US" sz="2800" dirty="0">
                <a:solidFill>
                  <a:schemeClr val="tx1"/>
                </a:solidFill>
              </a:rPr>
              <a:t>Using email for financial transactions in general is strongly discouraged</a:t>
            </a:r>
          </a:p>
          <a:p>
            <a:pPr marL="852467" lvl="1" indent="-380990">
              <a:buFont typeface="Wingdings" panose="05000000000000000000" pitchFamily="2" charset="2"/>
              <a:buChar char="§"/>
            </a:pPr>
            <a:endParaRPr lang="en-US" sz="2800" dirty="0">
              <a:solidFill>
                <a:schemeClr val="tx1"/>
              </a:solidFill>
            </a:endParaRPr>
          </a:p>
          <a:p>
            <a:pPr marL="852467" lvl="1" indent="-380990">
              <a:buFont typeface="Wingdings" panose="05000000000000000000" pitchFamily="2" charset="2"/>
              <a:buChar char="§"/>
            </a:pPr>
            <a:r>
              <a:rPr lang="en-US" sz="2800" dirty="0">
                <a:solidFill>
                  <a:schemeClr val="tx1"/>
                </a:solidFill>
              </a:rPr>
              <a:t>Immediately contact FSS Accounts Receivables department if you suspect possible fraud at:  </a:t>
            </a:r>
            <a:r>
              <a:rPr lang="en-US" sz="2800" dirty="0">
                <a:solidFill>
                  <a:schemeClr val="tx1"/>
                </a:solidFill>
                <a:hlinkClick r:id="rId2"/>
              </a:rPr>
              <a:t>AccountsReceivable.NorAm@sodexo.com</a:t>
            </a:r>
            <a:r>
              <a:rPr lang="en-US" sz="2800" dirty="0">
                <a:solidFill>
                  <a:schemeClr val="tx1"/>
                </a:solidFill>
              </a:rPr>
              <a:t> or 1-800-828-7762, Option 2, Option 2 </a:t>
            </a:r>
          </a:p>
          <a:p>
            <a:pPr marL="257168" indent="-257168">
              <a:buFont typeface="Wingdings" panose="05000000000000000000" pitchFamily="2" charset="2"/>
              <a:buChar char="Ø"/>
            </a:pPr>
            <a:endParaRPr lang="en-US" dirty="0">
              <a:solidFill>
                <a:schemeClr val="tx1"/>
              </a:solidFill>
            </a:endParaRPr>
          </a:p>
          <a:p>
            <a:pPr marL="257168" indent="-257168">
              <a:buFont typeface="Wingdings" panose="05000000000000000000" pitchFamily="2" charset="2"/>
              <a:buChar char="Ø"/>
            </a:pPr>
            <a:endParaRPr lang="en-US" dirty="0"/>
          </a:p>
          <a:p>
            <a:pPr marL="0" indent="0">
              <a:buNone/>
            </a:pPr>
            <a:r>
              <a:rPr lang="en-US" sz="2667" dirty="0">
                <a:solidFill>
                  <a:srgbClr val="FF0000"/>
                </a:solidFill>
              </a:rPr>
              <a:t>Thank you, your actions are making a difference!</a:t>
            </a:r>
          </a:p>
        </p:txBody>
      </p:sp>
      <p:sp>
        <p:nvSpPr>
          <p:cNvPr id="4" name="Footer Placeholder 3">
            <a:extLst>
              <a:ext uri="{FF2B5EF4-FFF2-40B4-BE49-F238E27FC236}">
                <a16:creationId xmlns:a16="http://schemas.microsoft.com/office/drawing/2014/main" id="{C5D1554D-9BBF-0B64-9D28-7AACEAC9574D}"/>
              </a:ext>
            </a:extLst>
          </p:cNvPr>
          <p:cNvSpPr>
            <a:spLocks noGrp="1"/>
          </p:cNvSpPr>
          <p:nvPr>
            <p:ph type="ftr" sz="quarter" idx="14"/>
          </p:nvPr>
        </p:nvSpPr>
        <p:spPr/>
        <p:txBody>
          <a:bodyPr/>
          <a:lstStyle/>
          <a:p>
            <a:pPr eaLnBrk="0" hangingPunct="0">
              <a:lnSpc>
                <a:spcPct val="90000"/>
              </a:lnSpc>
              <a:buClr>
                <a:schemeClr val="accent3"/>
              </a:buClr>
              <a:buSzPct val="120000"/>
              <a:tabLst>
                <a:tab pos="811986" algn="l"/>
                <a:tab pos="1212026" algn="l"/>
                <a:tab pos="1612066" algn="l"/>
                <a:tab pos="6057749" algn="r"/>
              </a:tabLst>
            </a:pPr>
            <a:r>
              <a:rPr lang="en-US"/>
              <a:t>Unit Controller Call Series © Sodexo, July 2024.  All rights Reserved</a:t>
            </a:r>
            <a:endParaRPr lang="en-US" dirty="0"/>
          </a:p>
        </p:txBody>
      </p:sp>
    </p:spTree>
    <p:extLst>
      <p:ext uri="{BB962C8B-B14F-4D97-AF65-F5344CB8AC3E}">
        <p14:creationId xmlns:p14="http://schemas.microsoft.com/office/powerpoint/2010/main" val="226452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5A147-903B-3379-6F53-6735C0B8FF48}"/>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22679340-A27F-4007-91B4-6A30A00E4841}"/>
              </a:ext>
            </a:extLst>
          </p:cNvPr>
          <p:cNvSpPr>
            <a:spLocks noGrp="1"/>
          </p:cNvSpPr>
          <p:nvPr>
            <p:ph type="body" sz="quarter" idx="61"/>
          </p:nvPr>
        </p:nvSpPr>
        <p:spPr/>
        <p:txBody>
          <a:bodyPr/>
          <a:lstStyle/>
          <a:p>
            <a:r>
              <a:rPr lang="en-US" sz="9600" dirty="0"/>
              <a:t>Q&amp;A</a:t>
            </a:r>
          </a:p>
          <a:p>
            <a:endParaRPr lang="en-US" dirty="0"/>
          </a:p>
        </p:txBody>
      </p:sp>
      <p:sp>
        <p:nvSpPr>
          <p:cNvPr id="3" name="Footer Placeholder 2">
            <a:extLst>
              <a:ext uri="{FF2B5EF4-FFF2-40B4-BE49-F238E27FC236}">
                <a16:creationId xmlns:a16="http://schemas.microsoft.com/office/drawing/2014/main" id="{0250E2A3-4849-EF62-F331-61969852F588}"/>
              </a:ext>
            </a:extLst>
          </p:cNvPr>
          <p:cNvSpPr>
            <a:spLocks noGrp="1"/>
          </p:cNvSpPr>
          <p:nvPr>
            <p:ph type="ftr" sz="quarter" idx="63"/>
          </p:nvPr>
        </p:nvSpPr>
        <p:spPr/>
        <p:txBody>
          <a:bodyPr/>
          <a:lstStyle/>
          <a:p>
            <a:r>
              <a:rPr lang="en-US"/>
              <a:t>Unit Controller Call Series © Sodexo, July 2024.  All rights Reserved</a:t>
            </a:r>
            <a:endParaRPr lang="en-US" dirty="0"/>
          </a:p>
        </p:txBody>
      </p:sp>
    </p:spTree>
    <p:extLst>
      <p:ext uri="{BB962C8B-B14F-4D97-AF65-F5344CB8AC3E}">
        <p14:creationId xmlns:p14="http://schemas.microsoft.com/office/powerpoint/2010/main" val="2751883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09E1D-6BB0-C773-22B6-00F2D5AEF552}"/>
            </a:ext>
          </a:extLst>
        </p:cNvPr>
        <p:cNvGrpSpPr/>
        <p:nvPr/>
      </p:nvGrpSpPr>
      <p:grpSpPr>
        <a:xfrm>
          <a:off x="0" y="0"/>
          <a:ext cx="0" cy="0"/>
          <a:chOff x="0" y="0"/>
          <a:chExt cx="0" cy="0"/>
        </a:xfrm>
      </p:grpSpPr>
      <p:pic>
        <p:nvPicPr>
          <p:cNvPr id="10" name="Picture 9" descr="A person wearing a face mask and holding a tray and a tray with drinks in it">
            <a:extLst>
              <a:ext uri="{FF2B5EF4-FFF2-40B4-BE49-F238E27FC236}">
                <a16:creationId xmlns:a16="http://schemas.microsoft.com/office/drawing/2014/main" id="{76148E7A-31B4-0248-1528-57B04652C3EB}"/>
              </a:ext>
            </a:extLst>
          </p:cNvPr>
          <p:cNvPicPr>
            <a:picLocks noChangeAspect="1"/>
          </p:cNvPicPr>
          <p:nvPr/>
        </p:nvPicPr>
        <p:blipFill>
          <a:blip r:embed="rId3"/>
          <a:stretch>
            <a:fillRect/>
          </a:stretch>
        </p:blipFill>
        <p:spPr>
          <a:xfrm>
            <a:off x="1" y="-17442"/>
            <a:ext cx="12192000" cy="6862946"/>
          </a:xfrm>
          <a:prstGeom prst="rect">
            <a:avLst/>
          </a:prstGeom>
        </p:spPr>
      </p:pic>
      <p:sp>
        <p:nvSpPr>
          <p:cNvPr id="6" name="Text Placeholder 5">
            <a:extLst>
              <a:ext uri="{FF2B5EF4-FFF2-40B4-BE49-F238E27FC236}">
                <a16:creationId xmlns:a16="http://schemas.microsoft.com/office/drawing/2014/main" id="{ECE9560A-98D5-9EEA-8F55-AF63A16540C0}"/>
              </a:ext>
            </a:extLst>
          </p:cNvPr>
          <p:cNvSpPr>
            <a:spLocks noGrp="1"/>
          </p:cNvSpPr>
          <p:nvPr>
            <p:ph type="title" idx="4294967295"/>
          </p:nvPr>
        </p:nvSpPr>
        <p:spPr>
          <a:xfrm>
            <a:off x="442912" y="438150"/>
            <a:ext cx="4958428" cy="3206750"/>
          </a:xfrm>
          <a:prstGeom prst="round2SameRect">
            <a:avLst>
              <a:gd name="adj1" fmla="val 0"/>
              <a:gd name="adj2" fmla="val 12536"/>
            </a:avLst>
          </a:prstGeom>
          <a:blipFill>
            <a:blip r:embed="rId4"/>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Autofit/>
          </a:bodyPr>
          <a:lstStyle/>
          <a:p>
            <a:pPr marR="0" lvl="0" algn="l" defTabSz="914377" rtl="0" eaLnBrk="1" fontAlgn="auto" latinLnBrk="0" hangingPunct="1">
              <a:lnSpc>
                <a:spcPct val="100000"/>
              </a:lnSpc>
              <a:spcBef>
                <a:spcPts val="0"/>
              </a:spcBef>
              <a:buClrTx/>
              <a:buSzTx/>
              <a:tabLst/>
              <a:defRPr/>
            </a:pPr>
            <a:r>
              <a:rPr lang="en-US" sz="2400" dirty="0">
                <a:latin typeface="+mn-lt"/>
                <a:ea typeface="+mn-ea"/>
                <a:cs typeface="+mn-cs"/>
              </a:rPr>
              <a:t>Internal Control Updates</a:t>
            </a:r>
            <a:br>
              <a:rPr lang="en-US" sz="2400" dirty="0">
                <a:latin typeface="+mn-lt"/>
                <a:ea typeface="+mn-ea"/>
                <a:cs typeface="+mn-cs"/>
              </a:rPr>
            </a:br>
            <a:br>
              <a:rPr lang="en-US" sz="2400" dirty="0">
                <a:latin typeface="+mn-lt"/>
                <a:ea typeface="+mn-ea"/>
                <a:cs typeface="+mn-cs"/>
              </a:rPr>
            </a:br>
            <a:r>
              <a:rPr lang="en-US" sz="2000" dirty="0">
                <a:latin typeface="+mn-lt"/>
                <a:ea typeface="+mn-ea"/>
                <a:cs typeface="+mn-cs"/>
              </a:rPr>
              <a:t>Inventory Management</a:t>
            </a:r>
            <a:br>
              <a:rPr lang="en-US" sz="2000" dirty="0">
                <a:latin typeface="+mn-lt"/>
                <a:ea typeface="+mn-ea"/>
                <a:cs typeface="+mn-cs"/>
              </a:rPr>
            </a:br>
            <a:r>
              <a:rPr lang="en-US" sz="2000" dirty="0">
                <a:latin typeface="+mn-lt"/>
                <a:ea typeface="+mn-ea"/>
                <a:cs typeface="+mn-cs"/>
              </a:rPr>
              <a:t>EY Year-End Inventory/Cash Audit</a:t>
            </a:r>
            <a:br>
              <a:rPr lang="en-US" sz="2000" dirty="0">
                <a:latin typeface="+mn-lt"/>
                <a:ea typeface="+mn-ea"/>
                <a:cs typeface="+mn-cs"/>
              </a:rPr>
            </a:br>
            <a:r>
              <a:rPr lang="en-US" sz="2000" dirty="0">
                <a:latin typeface="+mn-lt"/>
                <a:ea typeface="+mn-ea"/>
                <a:cs typeface="+mn-cs"/>
              </a:rPr>
              <a:t>NorAm Site Audit Program</a:t>
            </a:r>
            <a:endParaRPr kumimoji="0" lang="en-US" sz="2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Footer Placeholder 3">
            <a:extLst>
              <a:ext uri="{FF2B5EF4-FFF2-40B4-BE49-F238E27FC236}">
                <a16:creationId xmlns:a16="http://schemas.microsoft.com/office/drawing/2014/main" id="{7BB674C4-C1D4-E705-70B3-2B4D76947EFF}"/>
              </a:ext>
            </a:extLst>
          </p:cNvPr>
          <p:cNvSpPr>
            <a:spLocks noGrp="1"/>
          </p:cNvSpPr>
          <p:nvPr>
            <p:ph type="ftr" sz="quarter" idx="6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00761CBA-232F-EBC1-FFB2-469E2E9DD20D}"/>
              </a:ext>
            </a:extLst>
          </p:cNvPr>
          <p:cNvSpPr/>
          <p:nvPr/>
        </p:nvSpPr>
        <p:spPr>
          <a:xfrm>
            <a:off x="439432" y="0"/>
            <a:ext cx="4958428" cy="438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51998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Policy and Training</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Inventory Management</a:t>
            </a:r>
          </a:p>
        </p:txBody>
      </p:sp>
      <p:sp>
        <p:nvSpPr>
          <p:cNvPr id="6" name="TextBox 5">
            <a:extLst>
              <a:ext uri="{FF2B5EF4-FFF2-40B4-BE49-F238E27FC236}">
                <a16:creationId xmlns:a16="http://schemas.microsoft.com/office/drawing/2014/main" id="{CF143FF7-3CA6-D9E7-18AC-1A5D7C1D512F}"/>
              </a:ext>
            </a:extLst>
          </p:cNvPr>
          <p:cNvSpPr txBox="1"/>
          <p:nvPr/>
        </p:nvSpPr>
        <p:spPr>
          <a:xfrm>
            <a:off x="560866" y="3686744"/>
            <a:ext cx="4999962" cy="1477328"/>
          </a:xfrm>
          <a:prstGeom prst="rect">
            <a:avLst/>
          </a:prstGeom>
          <a:noFill/>
        </p:spPr>
        <p:txBody>
          <a:bodyPr wrap="square">
            <a:spAutoFit/>
          </a:bodyPr>
          <a:lstStyle/>
          <a:p>
            <a:pPr marL="233363" marR="0" lvl="0" indent="-233363" algn="l" defTabSz="609585" rtl="0" eaLnBrk="1" fontAlgn="auto" latinLnBrk="0" hangingPunct="1">
              <a:lnSpc>
                <a:spcPct val="100000"/>
              </a:lnSpc>
              <a:spcBef>
                <a:spcPts val="225"/>
              </a:spcBef>
              <a:spcAft>
                <a:spcPts val="600"/>
              </a:spcAft>
              <a:buClr>
                <a:srgbClr val="25359C"/>
              </a:buClr>
              <a:buSzPct val="140000"/>
              <a:buFont typeface="Arial" panose="020B0604020202020204" pitchFamily="34" charset="0"/>
              <a:buChar char="•"/>
              <a:tabLst/>
              <a:defRPr/>
            </a:pPr>
            <a:r>
              <a:rPr kumimoji="0" lang="en-US" sz="1800" b="0" i="0" u="none" strike="noStrike" kern="1200" cap="none" spc="0" normalizeH="0" baseline="0" noProof="0" dirty="0">
                <a:ln>
                  <a:noFill/>
                </a:ln>
                <a:solidFill>
                  <a:srgbClr val="2A295C"/>
                </a:solidFill>
                <a:effectLst/>
                <a:uLnTx/>
                <a:uFillTx/>
                <a:latin typeface="Arial" panose="020B0604020202020204" pitchFamily="34" charset="0"/>
                <a:ea typeface="+mn-ea"/>
                <a:cs typeface="Times New Roman" panose="02020603050405020304" pitchFamily="18" charset="0"/>
              </a:rPr>
              <a:t>All DMs/GMs, Operations Managers and Finance Managers/Unit Controllers must complete inventory training through Ingenium (confirmed by Certificate of Course Completion) </a:t>
            </a:r>
          </a:p>
        </p:txBody>
      </p:sp>
      <p:grpSp>
        <p:nvGrpSpPr>
          <p:cNvPr id="20" name="Group 19">
            <a:extLst>
              <a:ext uri="{FF2B5EF4-FFF2-40B4-BE49-F238E27FC236}">
                <a16:creationId xmlns:a16="http://schemas.microsoft.com/office/drawing/2014/main" id="{6890F9E0-2E83-0001-02CC-35CDBB038E30}"/>
              </a:ext>
            </a:extLst>
          </p:cNvPr>
          <p:cNvGrpSpPr/>
          <p:nvPr/>
        </p:nvGrpSpPr>
        <p:grpSpPr>
          <a:xfrm>
            <a:off x="1345298" y="2453891"/>
            <a:ext cx="3431097" cy="1097262"/>
            <a:chOff x="6826102" y="3227390"/>
            <a:chExt cx="2837981" cy="757130"/>
          </a:xfrm>
        </p:grpSpPr>
        <p:sp>
          <p:nvSpPr>
            <p:cNvPr id="10" name="Thought Bubble: Cloud 9">
              <a:extLst>
                <a:ext uri="{FF2B5EF4-FFF2-40B4-BE49-F238E27FC236}">
                  <a16:creationId xmlns:a16="http://schemas.microsoft.com/office/drawing/2014/main" id="{C252C88A-254B-B82A-6115-A307135CB671}"/>
                </a:ext>
              </a:extLst>
            </p:cNvPr>
            <p:cNvSpPr/>
            <p:nvPr/>
          </p:nvSpPr>
          <p:spPr>
            <a:xfrm>
              <a:off x="6826102" y="3227390"/>
              <a:ext cx="2837981" cy="757130"/>
            </a:xfrm>
            <a:prstGeom prst="roundRect">
              <a:avLst/>
            </a:prstGeom>
            <a:solidFill>
              <a:srgbClr val="25359C"/>
            </a:solidFill>
            <a:ln w="19050">
              <a:solidFill>
                <a:srgbClr val="253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BEB79AEC-FFD0-98F0-C4C7-4D66731BF3B0}"/>
                </a:ext>
              </a:extLst>
            </p:cNvPr>
            <p:cNvSpPr txBox="1"/>
            <p:nvPr/>
          </p:nvSpPr>
          <p:spPr>
            <a:xfrm>
              <a:off x="6967698" y="3271904"/>
              <a:ext cx="2696385" cy="587410"/>
            </a:xfrm>
            <a:prstGeom prst="round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Ingenium: Inventory Management Training</a:t>
              </a:r>
              <a:r>
                <a:rPr kumimoji="0" lang="en-US" sz="2200" b="1"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grpSp>
      <p:grpSp>
        <p:nvGrpSpPr>
          <p:cNvPr id="21" name="Group 20">
            <a:extLst>
              <a:ext uri="{FF2B5EF4-FFF2-40B4-BE49-F238E27FC236}">
                <a16:creationId xmlns:a16="http://schemas.microsoft.com/office/drawing/2014/main" id="{D793FE52-76CD-FAC7-6B0A-A2020C554235}"/>
              </a:ext>
            </a:extLst>
          </p:cNvPr>
          <p:cNvGrpSpPr/>
          <p:nvPr/>
        </p:nvGrpSpPr>
        <p:grpSpPr>
          <a:xfrm>
            <a:off x="7602278" y="2524874"/>
            <a:ext cx="2844588" cy="955297"/>
            <a:chOff x="7116242" y="4926707"/>
            <a:chExt cx="2448014" cy="602223"/>
          </a:xfrm>
        </p:grpSpPr>
        <p:sp>
          <p:nvSpPr>
            <p:cNvPr id="15" name="Thought Bubble: Cloud 14">
              <a:extLst>
                <a:ext uri="{FF2B5EF4-FFF2-40B4-BE49-F238E27FC236}">
                  <a16:creationId xmlns:a16="http://schemas.microsoft.com/office/drawing/2014/main" id="{A8F333BF-F2BA-D396-7069-B075229115F7}"/>
                </a:ext>
              </a:extLst>
            </p:cNvPr>
            <p:cNvSpPr/>
            <p:nvPr/>
          </p:nvSpPr>
          <p:spPr>
            <a:xfrm>
              <a:off x="7116242" y="4926707"/>
              <a:ext cx="2448014" cy="602223"/>
            </a:xfrm>
            <a:prstGeom prst="roundRect">
              <a:avLst/>
            </a:prstGeom>
            <a:solidFill>
              <a:srgbClr val="25359C"/>
            </a:solidFill>
            <a:ln w="19050">
              <a:solidFill>
                <a:srgbClr val="253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50AD1D8F-0BDF-B0F0-1D01-21C93DE57D66}"/>
                </a:ext>
              </a:extLst>
            </p:cNvPr>
            <p:cNvSpPr txBox="1"/>
            <p:nvPr/>
          </p:nvSpPr>
          <p:spPr>
            <a:xfrm>
              <a:off x="7367476" y="5036518"/>
              <a:ext cx="2044982" cy="336250"/>
            </a:xfrm>
            <a:prstGeom prst="round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TOPS Training</a:t>
              </a:r>
              <a:r>
                <a:rPr kumimoji="0" lang="en-US" sz="2200" b="1"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grpSp>
      <p:sp>
        <p:nvSpPr>
          <p:cNvPr id="14" name="TextBox 13">
            <a:extLst>
              <a:ext uri="{FF2B5EF4-FFF2-40B4-BE49-F238E27FC236}">
                <a16:creationId xmlns:a16="http://schemas.microsoft.com/office/drawing/2014/main" id="{AD451B45-367A-D7C6-2B46-BCF7935169E0}"/>
              </a:ext>
            </a:extLst>
          </p:cNvPr>
          <p:cNvSpPr txBox="1"/>
          <p:nvPr/>
        </p:nvSpPr>
        <p:spPr>
          <a:xfrm>
            <a:off x="6410548" y="3686744"/>
            <a:ext cx="5220586" cy="2133918"/>
          </a:xfrm>
          <a:prstGeom prst="rect">
            <a:avLst/>
          </a:prstGeom>
          <a:noFill/>
        </p:spPr>
        <p:txBody>
          <a:bodyPr wrap="square" rtlCol="0">
            <a:spAutoFit/>
          </a:bodyPr>
          <a:lstStyle/>
          <a:p>
            <a:pPr marL="233363" marR="0" lvl="0" indent="-233363" algn="l" defTabSz="609585" rtl="0" eaLnBrk="1" fontAlgn="auto" latinLnBrk="0" hangingPunct="1">
              <a:lnSpc>
                <a:spcPct val="100000"/>
              </a:lnSpc>
              <a:spcBef>
                <a:spcPts val="0"/>
              </a:spcBef>
              <a:spcAft>
                <a:spcPts val="600"/>
              </a:spcAft>
              <a:buClr>
                <a:srgbClr val="25359C"/>
              </a:buClr>
              <a:buSzPct val="140000"/>
              <a:buFont typeface="Arial" panose="020B0604020202020204" pitchFamily="34" charset="0"/>
              <a:buChar char="•"/>
              <a:tabLst/>
              <a:defRPr/>
            </a:pPr>
            <a:r>
              <a:rPr kumimoji="0" lang="en-US" sz="1800" b="0" i="0" u="none" strike="noStrike" kern="1200" cap="none" spc="0" normalizeH="0" baseline="0" noProof="0" dirty="0">
                <a:ln>
                  <a:noFill/>
                </a:ln>
                <a:solidFill>
                  <a:srgbClr val="2A295C"/>
                </a:solidFill>
                <a:effectLst/>
                <a:uLnTx/>
                <a:uFillTx/>
                <a:latin typeface="Arial" panose="020B0604020202020204" pitchFamily="34" charset="0"/>
                <a:ea typeface="Arial" panose="020B0604020202020204" pitchFamily="34" charset="0"/>
                <a:cs typeface="Times New Roman" panose="02020603050405020304" pitchFamily="18" charset="0"/>
              </a:rPr>
              <a:t>All frontline employees involved with inventory processes must complete TOPS or Ingenium inventory training (Inventory Management). </a:t>
            </a:r>
          </a:p>
          <a:p>
            <a:pPr marL="233363" marR="0" lvl="0" indent="-233363" algn="l" defTabSz="609585" rtl="0" eaLnBrk="1" fontAlgn="auto" latinLnBrk="0" hangingPunct="1">
              <a:lnSpc>
                <a:spcPct val="100000"/>
              </a:lnSpc>
              <a:spcBef>
                <a:spcPts val="225"/>
              </a:spcBef>
              <a:spcAft>
                <a:spcPts val="600"/>
              </a:spcAft>
              <a:buClr>
                <a:srgbClr val="25359C"/>
              </a:buClr>
              <a:buSzPct val="140000"/>
              <a:buFont typeface="Arial" panose="020B0604020202020204" pitchFamily="34" charset="0"/>
              <a:buChar char="•"/>
              <a:tabLst/>
              <a:defRPr/>
            </a:pPr>
            <a:r>
              <a:rPr kumimoji="0" lang="en-US" sz="1800" b="0" i="0" u="none" strike="noStrike" kern="1200" cap="none" spc="0" normalizeH="0" baseline="0" noProof="0" dirty="0">
                <a:ln>
                  <a:noFill/>
                </a:ln>
                <a:solidFill>
                  <a:srgbClr val="2A295C"/>
                </a:solidFill>
                <a:effectLst/>
                <a:uLnTx/>
                <a:uFillTx/>
                <a:latin typeface="Arial" panose="020B0604020202020204" pitchFamily="34" charset="0"/>
                <a:ea typeface="+mn-ea"/>
                <a:cs typeface="Times New Roman" panose="02020603050405020304" pitchFamily="18" charset="0"/>
              </a:rPr>
              <a:t>The site GM is responsible to conduct the TOPS training, obtain, and keep on-site, signed training confirmations/records for all frontline employees involved with inventory processes.</a:t>
            </a:r>
          </a:p>
        </p:txBody>
      </p:sp>
      <p:sp>
        <p:nvSpPr>
          <p:cNvPr id="19" name="TextBox 18">
            <a:extLst>
              <a:ext uri="{FF2B5EF4-FFF2-40B4-BE49-F238E27FC236}">
                <a16:creationId xmlns:a16="http://schemas.microsoft.com/office/drawing/2014/main" id="{70ADE596-D084-0075-E86E-540094479A30}"/>
              </a:ext>
            </a:extLst>
          </p:cNvPr>
          <p:cNvSpPr txBox="1"/>
          <p:nvPr/>
        </p:nvSpPr>
        <p:spPr>
          <a:xfrm>
            <a:off x="500149" y="1415873"/>
            <a:ext cx="11191701" cy="646331"/>
          </a:xfrm>
          <a:prstGeom prst="rect">
            <a:avLst/>
          </a:prstGeom>
          <a:noFill/>
          <a:ln w="19050">
            <a:solidFill>
              <a:srgbClr val="25359C"/>
            </a:solidFill>
          </a:ln>
        </p:spPr>
        <p:txBody>
          <a:bodyPr wrap="square">
            <a:spAutoFit/>
          </a:bodyPr>
          <a:lstStyle/>
          <a:p>
            <a:pPr marL="0" marR="0" lvl="0" indent="0" algn="l" defTabSz="914400" rtl="0" eaLnBrk="1" fontAlgn="auto" latinLnBrk="0" hangingPunct="1">
              <a:lnSpc>
                <a:spcPct val="90000"/>
              </a:lnSpc>
              <a:spcBef>
                <a:spcPts val="225"/>
              </a:spcBef>
              <a:spcAft>
                <a:spcPts val="225"/>
              </a:spcAft>
              <a:buClr>
                <a:srgbClr val="EE0000"/>
              </a:buClr>
              <a:buSzTx/>
              <a:buFontTx/>
              <a:buNone/>
              <a:tabLst/>
              <a:defRPr/>
            </a:pPr>
            <a:r>
              <a:rPr kumimoji="0" lang="en-US" sz="2000" b="0" i="0" u="none" strike="noStrike" kern="1200" cap="none" spc="0" normalizeH="0" baseline="0" noProof="0" dirty="0">
                <a:ln>
                  <a:noFill/>
                </a:ln>
                <a:solidFill>
                  <a:srgbClr val="25359C"/>
                </a:solidFill>
                <a:effectLst/>
                <a:uLnTx/>
                <a:uFillTx/>
                <a:latin typeface="Arial" panose="020B0604020202020204"/>
                <a:ea typeface="+mn-ea"/>
                <a:cs typeface="+mn-cs"/>
              </a:rPr>
              <a:t>Inventory training is mandatory for </a:t>
            </a:r>
            <a:r>
              <a:rPr kumimoji="0" lang="en-US" sz="2000" b="1" i="0" u="none" strike="noStrike" kern="1200" cap="none" spc="0" normalizeH="0" baseline="0" noProof="0" dirty="0">
                <a:ln>
                  <a:noFill/>
                </a:ln>
                <a:solidFill>
                  <a:srgbClr val="25359C"/>
                </a:solidFill>
                <a:effectLst/>
                <a:uLnTx/>
                <a:uFillTx/>
                <a:latin typeface="Arial" panose="020B0604020202020204"/>
                <a:ea typeface="+mn-ea"/>
                <a:cs typeface="+mn-cs"/>
              </a:rPr>
              <a:t>all employees</a:t>
            </a:r>
            <a:r>
              <a:rPr kumimoji="0" lang="en-US" sz="2000" b="0" i="0" u="none" strike="noStrike" kern="1200" cap="none" spc="0" normalizeH="0" baseline="0" noProof="0" dirty="0">
                <a:ln>
                  <a:noFill/>
                </a:ln>
                <a:solidFill>
                  <a:srgbClr val="25359C"/>
                </a:solidFill>
                <a:effectLst/>
                <a:uLnTx/>
                <a:uFillTx/>
                <a:latin typeface="Arial" panose="020B0604020202020204"/>
                <a:ea typeface="+mn-ea"/>
                <a:cs typeface="+mn-cs"/>
              </a:rPr>
              <a:t> (frontline and management) involved with the inventory process and must be familiar with AF Topic 832-01 Inventory Control.</a:t>
            </a:r>
            <a:endParaRPr kumimoji="0" lang="en-US" sz="2000" b="1" i="0" u="none" strike="noStrike" kern="1200" cap="none" spc="0" normalizeH="0" baseline="0" noProof="0" dirty="0">
              <a:ln>
                <a:noFill/>
              </a:ln>
              <a:solidFill>
                <a:srgbClr val="25359C"/>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73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Steps – Roles &amp; Responsibilities (Segregation of Duties)</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Inventory Management</a:t>
            </a:r>
          </a:p>
        </p:txBody>
      </p:sp>
      <p:sp>
        <p:nvSpPr>
          <p:cNvPr id="9" name="TextBox 8">
            <a:extLst>
              <a:ext uri="{FF2B5EF4-FFF2-40B4-BE49-F238E27FC236}">
                <a16:creationId xmlns:a16="http://schemas.microsoft.com/office/drawing/2014/main" id="{D210E97E-6568-80F8-D327-42DE0CE8A31F}"/>
              </a:ext>
            </a:extLst>
          </p:cNvPr>
          <p:cNvSpPr txBox="1"/>
          <p:nvPr/>
        </p:nvSpPr>
        <p:spPr>
          <a:xfrm>
            <a:off x="439432" y="5813770"/>
            <a:ext cx="8034718" cy="276999"/>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C"/>
                </a:solidFill>
                <a:effectLst/>
                <a:uLnTx/>
                <a:uFillTx/>
                <a:latin typeface="Arial" panose="020B0604020202020204"/>
                <a:ea typeface="+mn-ea"/>
                <a:cs typeface="+mn-cs"/>
              </a:rPr>
              <a:t>* The receiver may participate in the two-person count but is not allowed to conduct a physical inventory count alone.</a:t>
            </a:r>
          </a:p>
        </p:txBody>
      </p:sp>
      <p:graphicFrame>
        <p:nvGraphicFramePr>
          <p:cNvPr id="16" name="Table 15">
            <a:extLst>
              <a:ext uri="{FF2B5EF4-FFF2-40B4-BE49-F238E27FC236}">
                <a16:creationId xmlns:a16="http://schemas.microsoft.com/office/drawing/2014/main" id="{AB0A7D16-E611-CFE8-67C9-F7390F106E6F}"/>
              </a:ext>
            </a:extLst>
          </p:cNvPr>
          <p:cNvGraphicFramePr>
            <a:graphicFrameLocks noGrp="1"/>
          </p:cNvGraphicFramePr>
          <p:nvPr/>
        </p:nvGraphicFramePr>
        <p:xfrm>
          <a:off x="439432" y="1318435"/>
          <a:ext cx="8258002" cy="4394582"/>
        </p:xfrm>
        <a:graphic>
          <a:graphicData uri="http://schemas.openxmlformats.org/drawingml/2006/table">
            <a:tbl>
              <a:tblPr/>
              <a:tblGrid>
                <a:gridCol w="953341">
                  <a:extLst>
                    <a:ext uri="{9D8B030D-6E8A-4147-A177-3AD203B41FA5}">
                      <a16:colId xmlns:a16="http://schemas.microsoft.com/office/drawing/2014/main" val="4072806102"/>
                    </a:ext>
                  </a:extLst>
                </a:gridCol>
                <a:gridCol w="4969896">
                  <a:extLst>
                    <a:ext uri="{9D8B030D-6E8A-4147-A177-3AD203B41FA5}">
                      <a16:colId xmlns:a16="http://schemas.microsoft.com/office/drawing/2014/main" val="1403980656"/>
                    </a:ext>
                  </a:extLst>
                </a:gridCol>
                <a:gridCol w="370106">
                  <a:extLst>
                    <a:ext uri="{9D8B030D-6E8A-4147-A177-3AD203B41FA5}">
                      <a16:colId xmlns:a16="http://schemas.microsoft.com/office/drawing/2014/main" val="2199192310"/>
                    </a:ext>
                  </a:extLst>
                </a:gridCol>
                <a:gridCol w="315633">
                  <a:extLst>
                    <a:ext uri="{9D8B030D-6E8A-4147-A177-3AD203B41FA5}">
                      <a16:colId xmlns:a16="http://schemas.microsoft.com/office/drawing/2014/main" val="1679059804"/>
                    </a:ext>
                  </a:extLst>
                </a:gridCol>
                <a:gridCol w="309194">
                  <a:extLst>
                    <a:ext uri="{9D8B030D-6E8A-4147-A177-3AD203B41FA5}">
                      <a16:colId xmlns:a16="http://schemas.microsoft.com/office/drawing/2014/main" val="2205014564"/>
                    </a:ext>
                  </a:extLst>
                </a:gridCol>
                <a:gridCol w="747215">
                  <a:extLst>
                    <a:ext uri="{9D8B030D-6E8A-4147-A177-3AD203B41FA5}">
                      <a16:colId xmlns:a16="http://schemas.microsoft.com/office/drawing/2014/main" val="3952776832"/>
                    </a:ext>
                  </a:extLst>
                </a:gridCol>
                <a:gridCol w="592617">
                  <a:extLst>
                    <a:ext uri="{9D8B030D-6E8A-4147-A177-3AD203B41FA5}">
                      <a16:colId xmlns:a16="http://schemas.microsoft.com/office/drawing/2014/main" val="3091402822"/>
                    </a:ext>
                  </a:extLst>
                </a:gridCol>
              </a:tblGrid>
              <a:tr h="230212">
                <a:tc>
                  <a:txBody>
                    <a:bodyPr/>
                    <a:lstStyle/>
                    <a:p>
                      <a:pPr algn="l" fontAlgn="b"/>
                      <a:r>
                        <a:rPr lang="en-US" sz="1400" b="0" i="0" u="none" strike="noStrike" dirty="0">
                          <a:solidFill>
                            <a:srgbClr val="000000"/>
                          </a:solidFill>
                          <a:effectLst/>
                          <a:latin typeface="Arial" panose="020B0604020202020204" pitchFamily="34" charset="0"/>
                        </a:rPr>
                        <a:t> </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algn="l" fontAlgn="b"/>
                      <a:r>
                        <a:rPr lang="en-US" sz="1400" b="0" i="0" u="none" strike="noStrike" dirty="0">
                          <a:solidFill>
                            <a:srgbClr val="000000"/>
                          </a:solidFill>
                          <a:effectLst/>
                          <a:latin typeface="Arial" panose="020B0604020202020204" pitchFamily="34" charset="0"/>
                        </a:rPr>
                        <a:t> </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gridSpan="3">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Employee</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tc>
                <a:tc>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Unit</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2060"/>
                    </a:solidFill>
                  </a:tcPr>
                </a:tc>
                <a:tc>
                  <a:txBody>
                    <a:bodyPr/>
                    <a:lstStyle/>
                    <a:p>
                      <a:pPr algn="l" fontAlgn="b"/>
                      <a:r>
                        <a:rPr lang="en-US" sz="1400" b="0" i="0" u="none" strike="noStrike" dirty="0">
                          <a:solidFill>
                            <a:srgbClr val="000000"/>
                          </a:solidFill>
                          <a:effectLst/>
                          <a:latin typeface="Arial" panose="020B0604020202020204" pitchFamily="34" charset="0"/>
                        </a:rPr>
                        <a:t> </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690475304"/>
                  </a:ext>
                </a:extLst>
              </a:tr>
              <a:tr h="224155">
                <a:tc>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Process</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Procedures</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A</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B</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400" b="1" i="0" u="none" strike="noStrike" dirty="0">
                          <a:solidFill>
                            <a:srgbClr val="FFFFFF"/>
                          </a:solidFill>
                          <a:effectLst/>
                          <a:highlight>
                            <a:srgbClr val="002060"/>
                          </a:highlight>
                          <a:latin typeface="Arial" panose="020B0604020202020204" pitchFamily="34" charset="0"/>
                        </a:rPr>
                        <a:t>C</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400" b="1" i="0" u="none" strike="noStrike" dirty="0" err="1">
                          <a:solidFill>
                            <a:srgbClr val="FFFFFF"/>
                          </a:solidFill>
                          <a:effectLst/>
                          <a:highlight>
                            <a:srgbClr val="002060"/>
                          </a:highlight>
                          <a:latin typeface="Arial" panose="020B0604020202020204" pitchFamily="34" charset="0"/>
                        </a:rPr>
                        <a:t>Mgmt</a:t>
                      </a:r>
                      <a:endParaRPr lang="en-US" sz="1400" b="1" i="0" u="none" strike="noStrike" dirty="0">
                        <a:solidFill>
                          <a:srgbClr val="FFFFFF"/>
                        </a:solidFill>
                        <a:effectLst/>
                        <a:highlight>
                          <a:srgbClr val="002060"/>
                        </a:highlight>
                        <a:latin typeface="Arial" panose="020B0604020202020204" pitchFamily="34" charset="0"/>
                      </a:endParaRP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400" b="1" i="0" u="none" strike="noStrike">
                          <a:solidFill>
                            <a:srgbClr val="FFFFFF"/>
                          </a:solidFill>
                          <a:effectLst/>
                          <a:highlight>
                            <a:srgbClr val="002060"/>
                          </a:highlight>
                          <a:latin typeface="Arial" panose="020B0604020202020204" pitchFamily="34" charset="0"/>
                        </a:rPr>
                        <a:t>DM</a:t>
                      </a:r>
                    </a:p>
                  </a:txBody>
                  <a:tcPr marL="2572" marR="2572" marT="2572"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810630350"/>
                  </a:ext>
                </a:extLst>
              </a:tr>
              <a:tr h="221453">
                <a:tc rowSpan="2">
                  <a:txBody>
                    <a:bodyPr/>
                    <a:lstStyle/>
                    <a:p>
                      <a:pPr algn="ctr" fontAlgn="ctr"/>
                      <a:r>
                        <a:rPr lang="en-US" sz="1400" b="0" i="0" u="none" strike="noStrike" dirty="0">
                          <a:solidFill>
                            <a:srgbClr val="2A295C"/>
                          </a:solidFill>
                          <a:effectLst/>
                          <a:latin typeface="Arial" panose="020B0604020202020204" pitchFamily="34" charset="0"/>
                        </a:rPr>
                        <a:t>1</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Order new inventory</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5628427"/>
                  </a:ext>
                </a:extLst>
              </a:tr>
              <a:tr h="221453">
                <a:tc vMerge="1">
                  <a:txBody>
                    <a:bodyPr/>
                    <a:lstStyle/>
                    <a:p>
                      <a:endParaRPr lang="en-US"/>
                    </a:p>
                  </a:txBody>
                  <a:tcPr/>
                </a:tc>
                <a:tc>
                  <a:txBody>
                    <a:bodyPr/>
                    <a:lstStyle/>
                    <a:p>
                      <a:pPr algn="l" fontAlgn="b"/>
                      <a:r>
                        <a:rPr lang="en-US" sz="1400" b="0" i="0" u="none" strike="noStrike" dirty="0">
                          <a:solidFill>
                            <a:srgbClr val="2A295C"/>
                          </a:solidFill>
                          <a:effectLst/>
                          <a:latin typeface="Arial" panose="020B0604020202020204" pitchFamily="34" charset="0"/>
                        </a:rPr>
                        <a:t>Receive new inventory *</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9131054"/>
                  </a:ext>
                </a:extLst>
              </a:tr>
              <a:tr h="221453">
                <a:tc rowSpan="2">
                  <a:txBody>
                    <a:bodyPr/>
                    <a:lstStyle/>
                    <a:p>
                      <a:pPr algn="ctr" fontAlgn="ctr"/>
                      <a:r>
                        <a:rPr lang="en-US" sz="1400" b="0" i="0" u="none" strike="noStrike">
                          <a:solidFill>
                            <a:srgbClr val="2A295C"/>
                          </a:solidFill>
                          <a:effectLst/>
                          <a:latin typeface="Arial" panose="020B0604020202020204" pitchFamily="34" charset="0"/>
                        </a:rPr>
                        <a:t>2</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2A295C"/>
                          </a:solidFill>
                          <a:effectLst/>
                          <a:latin typeface="Arial" panose="020B0604020202020204" pitchFamily="34" charset="0"/>
                        </a:rPr>
                        <a:t>Perform physical inventory count</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5724254"/>
                  </a:ext>
                </a:extLst>
              </a:tr>
              <a:tr h="221453">
                <a:tc vMerge="1">
                  <a:txBody>
                    <a:bodyPr/>
                    <a:lstStyle/>
                    <a:p>
                      <a:endParaRPr lang="en-US"/>
                    </a:p>
                  </a:txBody>
                  <a:tcPr/>
                </a:tc>
                <a:tc>
                  <a:txBody>
                    <a:bodyPr/>
                    <a:lstStyle/>
                    <a:p>
                      <a:pPr algn="l" fontAlgn="b"/>
                      <a:r>
                        <a:rPr lang="en-US" sz="1400" b="0" i="0" u="none" strike="noStrike" dirty="0">
                          <a:solidFill>
                            <a:srgbClr val="2A295C"/>
                          </a:solidFill>
                          <a:effectLst/>
                          <a:latin typeface="Arial" panose="020B0604020202020204" pitchFamily="34" charset="0"/>
                        </a:rPr>
                        <a:t>Record physical inventory count on Count Sheets **</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0151881"/>
                  </a:ext>
                </a:extLst>
              </a:tr>
              <a:tr h="436848">
                <a:tc>
                  <a:txBody>
                    <a:bodyPr/>
                    <a:lstStyle/>
                    <a:p>
                      <a:pPr algn="ctr" fontAlgn="ctr"/>
                      <a:r>
                        <a:rPr lang="en-US" sz="1400" b="0" i="0" u="none" strike="noStrike">
                          <a:solidFill>
                            <a:srgbClr val="2A295C"/>
                          </a:solidFill>
                          <a:effectLst/>
                          <a:latin typeface="Arial" panose="020B0604020202020204" pitchFamily="34" charset="0"/>
                        </a:rPr>
                        <a:t>3</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Enter the inventory counts from the Count Sheets into the Inventory Extension Tool</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331471"/>
                  </a:ext>
                </a:extLst>
              </a:tr>
              <a:tr h="436848">
                <a:tc>
                  <a:txBody>
                    <a:bodyPr/>
                    <a:lstStyle/>
                    <a:p>
                      <a:pPr algn="ctr" fontAlgn="ctr"/>
                      <a:r>
                        <a:rPr lang="en-US" sz="1400" b="0" i="0" u="none" strike="noStrike">
                          <a:solidFill>
                            <a:srgbClr val="2A295C"/>
                          </a:solidFill>
                          <a:effectLst/>
                          <a:latin typeface="Arial" panose="020B0604020202020204" pitchFamily="34" charset="0"/>
                        </a:rPr>
                        <a:t>4</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Maintain and update Inventory System i.e. price updates, new items, size differences</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7446820"/>
                  </a:ext>
                </a:extLst>
              </a:tr>
              <a:tr h="221453">
                <a:tc>
                  <a:txBody>
                    <a:bodyPr/>
                    <a:lstStyle/>
                    <a:p>
                      <a:pPr algn="ctr" fontAlgn="ctr"/>
                      <a:r>
                        <a:rPr lang="en-US" sz="1400" b="0" i="0" u="none" strike="noStrike">
                          <a:solidFill>
                            <a:srgbClr val="2A295C"/>
                          </a:solidFill>
                          <a:effectLst/>
                          <a:latin typeface="Arial" panose="020B0604020202020204" pitchFamily="34" charset="0"/>
                        </a:rPr>
                        <a:t>5</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Review Extension Report to the Count Sheets</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437902"/>
                  </a:ext>
                </a:extLst>
              </a:tr>
              <a:tr h="221453">
                <a:tc>
                  <a:txBody>
                    <a:bodyPr/>
                    <a:lstStyle/>
                    <a:p>
                      <a:pPr algn="ctr" fontAlgn="ctr"/>
                      <a:r>
                        <a:rPr lang="en-US" sz="1400" b="0" i="0" u="none" strike="noStrike">
                          <a:solidFill>
                            <a:srgbClr val="2A295C"/>
                          </a:solidFill>
                          <a:effectLst/>
                          <a:latin typeface="Arial" panose="020B0604020202020204" pitchFamily="34" charset="0"/>
                        </a:rPr>
                        <a:t>6</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Enter ending inventory values into UFS, Inventory Summary</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4955286"/>
                  </a:ext>
                </a:extLst>
              </a:tr>
              <a:tr h="652243">
                <a:tc>
                  <a:txBody>
                    <a:bodyPr/>
                    <a:lstStyle/>
                    <a:p>
                      <a:pPr algn="ctr" fontAlgn="ctr"/>
                      <a:r>
                        <a:rPr lang="en-US" sz="1400" b="0" i="0" u="none" strike="noStrike">
                          <a:solidFill>
                            <a:srgbClr val="2A295C"/>
                          </a:solidFill>
                          <a:effectLst/>
                          <a:latin typeface="Arial" panose="020B0604020202020204" pitchFamily="34" charset="0"/>
                        </a:rPr>
                        <a:t>7</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Review and approve Inventory Summary to Extension Report to Count Sheets  (Approve electronically in The Market Connection (TMC))</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6485596"/>
                  </a:ext>
                </a:extLst>
              </a:tr>
              <a:tr h="221453">
                <a:tc>
                  <a:txBody>
                    <a:bodyPr/>
                    <a:lstStyle/>
                    <a:p>
                      <a:pPr algn="ctr" fontAlgn="ctr"/>
                      <a:r>
                        <a:rPr lang="en-US" sz="1400" b="0" i="0" u="none" strike="noStrike">
                          <a:solidFill>
                            <a:srgbClr val="2A295C"/>
                          </a:solidFill>
                          <a:effectLst/>
                          <a:latin typeface="Arial" panose="020B0604020202020204" pitchFamily="34" charset="0"/>
                        </a:rPr>
                        <a:t>8</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Reporting of inventory values to Buffalo FSS</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0126673"/>
                  </a:ext>
                </a:extLst>
              </a:tr>
              <a:tr h="221453">
                <a:tc>
                  <a:txBody>
                    <a:bodyPr/>
                    <a:lstStyle/>
                    <a:p>
                      <a:pPr algn="ctr" fontAlgn="ctr"/>
                      <a:r>
                        <a:rPr lang="en-US" sz="1400" b="0" i="0" u="none" strike="noStrike">
                          <a:solidFill>
                            <a:srgbClr val="2A295C"/>
                          </a:solidFill>
                          <a:effectLst/>
                          <a:latin typeface="Arial" panose="020B0604020202020204" pitchFamily="34" charset="0"/>
                        </a:rPr>
                        <a:t>9</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dirty="0">
                          <a:solidFill>
                            <a:srgbClr val="2A295C"/>
                          </a:solidFill>
                          <a:effectLst/>
                          <a:latin typeface="Arial" panose="020B0604020202020204" pitchFamily="34" charset="0"/>
                        </a:rPr>
                        <a:t>Observe inventory counts at least once a year</a:t>
                      </a: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 </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6383382"/>
                  </a:ext>
                </a:extLst>
              </a:tr>
              <a:tr h="627048">
                <a:tc>
                  <a:txBody>
                    <a:bodyPr/>
                    <a:lstStyle/>
                    <a:p>
                      <a:pPr algn="ctr" fontAlgn="ctr"/>
                      <a:r>
                        <a:rPr lang="en-US" sz="1400" b="0" i="0" u="none" strike="noStrike" dirty="0">
                          <a:solidFill>
                            <a:srgbClr val="2A295C"/>
                          </a:solidFill>
                          <a:effectLst/>
                          <a:latin typeface="Arial" panose="020B0604020202020204" pitchFamily="34" charset="0"/>
                        </a:rPr>
                        <a:t>10</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dirty="0">
                          <a:solidFill>
                            <a:srgbClr val="2A295C"/>
                          </a:solidFill>
                        </a:rPr>
                        <a:t>General Managers/District Managers are to utilize E=Vision to review various inventory metrics/trends for reasonableness / fraud prevention</a:t>
                      </a:r>
                      <a:endParaRPr lang="en-US" sz="1400" b="0" i="0" u="none" strike="noStrike" dirty="0">
                        <a:solidFill>
                          <a:srgbClr val="2A295C"/>
                        </a:solidFill>
                        <a:effectLst/>
                        <a:latin typeface="Arial" panose="020B0604020202020204" pitchFamily="34" charset="0"/>
                      </a:endParaRPr>
                    </a:p>
                  </a:txBody>
                  <a:tcPr marL="30862" marR="2572" marT="25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400" b="1" i="0" u="none" strike="noStrike" dirty="0">
                        <a:solidFill>
                          <a:srgbClr val="2A295C"/>
                        </a:solidFill>
                        <a:effectLst/>
                        <a:latin typeface="Arial" panose="020B0604020202020204" pitchFamily="34" charset="0"/>
                      </a:endParaRP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400" b="1" i="0" u="none" strike="noStrike" dirty="0">
                        <a:solidFill>
                          <a:srgbClr val="2A295C"/>
                        </a:solidFill>
                        <a:effectLst/>
                        <a:latin typeface="Arial" panose="020B0604020202020204" pitchFamily="34" charset="0"/>
                      </a:endParaRP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400" b="1" i="0" u="none" strike="noStrike" dirty="0">
                        <a:solidFill>
                          <a:srgbClr val="2A295C"/>
                        </a:solidFill>
                        <a:effectLst/>
                        <a:latin typeface="Arial" panose="020B0604020202020204" pitchFamily="34" charset="0"/>
                      </a:endParaRP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dirty="0">
                          <a:solidFill>
                            <a:srgbClr val="2A295C"/>
                          </a:solidFill>
                          <a:effectLst/>
                          <a:latin typeface="Arial" panose="020B0604020202020204" pitchFamily="34" charset="0"/>
                        </a:rPr>
                        <a:t>X</a:t>
                      </a:r>
                    </a:p>
                  </a:txBody>
                  <a:tcPr marL="2572" marR="2572" marT="25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1620654"/>
                  </a:ext>
                </a:extLst>
              </a:tr>
            </a:tbl>
          </a:graphicData>
        </a:graphic>
      </p:graphicFrame>
      <p:grpSp>
        <p:nvGrpSpPr>
          <p:cNvPr id="19" name="Group 18">
            <a:extLst>
              <a:ext uri="{FF2B5EF4-FFF2-40B4-BE49-F238E27FC236}">
                <a16:creationId xmlns:a16="http://schemas.microsoft.com/office/drawing/2014/main" id="{DA5DFB3A-DA49-7DC9-AA59-522C4975BB60}"/>
              </a:ext>
            </a:extLst>
          </p:cNvPr>
          <p:cNvGrpSpPr/>
          <p:nvPr/>
        </p:nvGrpSpPr>
        <p:grpSpPr>
          <a:xfrm>
            <a:off x="8878190" y="960775"/>
            <a:ext cx="3136336" cy="1980677"/>
            <a:chOff x="8397350" y="2514373"/>
            <a:chExt cx="3479217" cy="1638281"/>
          </a:xfrm>
        </p:grpSpPr>
        <p:sp>
          <p:nvSpPr>
            <p:cNvPr id="18" name="Rectangle: Rounded Corners 17">
              <a:extLst>
                <a:ext uri="{FF2B5EF4-FFF2-40B4-BE49-F238E27FC236}">
                  <a16:creationId xmlns:a16="http://schemas.microsoft.com/office/drawing/2014/main" id="{81CBB1F4-AD74-BD78-6647-E8E24B5036F8}"/>
                </a:ext>
              </a:extLst>
            </p:cNvPr>
            <p:cNvSpPr/>
            <p:nvPr/>
          </p:nvSpPr>
          <p:spPr>
            <a:xfrm>
              <a:off x="8397350" y="2514373"/>
              <a:ext cx="3479217" cy="163828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E714A86E-6E07-82A8-E875-9FEC47AE2031}"/>
                </a:ext>
              </a:extLst>
            </p:cNvPr>
            <p:cNvSpPr txBox="1"/>
            <p:nvPr/>
          </p:nvSpPr>
          <p:spPr>
            <a:xfrm>
              <a:off x="8536758" y="2618421"/>
              <a:ext cx="3200400" cy="1451059"/>
            </a:xfrm>
            <a:prstGeom prst="rect">
              <a:avLst/>
            </a:prstGeom>
            <a:noFill/>
          </p:spPr>
          <p:txBody>
            <a:bodyPr wrap="square" rtlCol="0" anchor="ctr" anchorCtr="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Segregation of inventory management duties will ensure accountability, better control of inventory and reduce risks of fraud and theft</a:t>
              </a:r>
            </a:p>
          </p:txBody>
        </p:sp>
      </p:grpSp>
      <p:sp>
        <p:nvSpPr>
          <p:cNvPr id="6" name="TextBox 5">
            <a:extLst>
              <a:ext uri="{FF2B5EF4-FFF2-40B4-BE49-F238E27FC236}">
                <a16:creationId xmlns:a16="http://schemas.microsoft.com/office/drawing/2014/main" id="{7654A7F7-3F47-B76D-6CC7-A6FF0FBBC6A7}"/>
              </a:ext>
            </a:extLst>
          </p:cNvPr>
          <p:cNvSpPr txBox="1"/>
          <p:nvPr/>
        </p:nvSpPr>
        <p:spPr>
          <a:xfrm>
            <a:off x="439432" y="6038962"/>
            <a:ext cx="8343061" cy="46166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C"/>
                </a:solidFill>
                <a:effectLst/>
                <a:uLnTx/>
                <a:uFillTx/>
                <a:latin typeface="Arial" panose="020B0604020202020204"/>
                <a:ea typeface="+mn-ea"/>
                <a:cs typeface="+mn-cs"/>
              </a:rPr>
              <a:t>** In small units where two individuals are not available to perform and record the physical inventory counts, one individual can perform and record the count with the prior written approval of DM or Controller or Segment Finance.</a:t>
            </a:r>
          </a:p>
        </p:txBody>
      </p:sp>
      <p:sp>
        <p:nvSpPr>
          <p:cNvPr id="7" name="TextBox 6">
            <a:extLst>
              <a:ext uri="{FF2B5EF4-FFF2-40B4-BE49-F238E27FC236}">
                <a16:creationId xmlns:a16="http://schemas.microsoft.com/office/drawing/2014/main" id="{5F95DFAB-10DA-7D06-0E73-D8BC7F01CB68}"/>
              </a:ext>
            </a:extLst>
          </p:cNvPr>
          <p:cNvSpPr txBox="1"/>
          <p:nvPr/>
        </p:nvSpPr>
        <p:spPr>
          <a:xfrm>
            <a:off x="9340393" y="5851045"/>
            <a:ext cx="1706796" cy="646331"/>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C"/>
                </a:solidFill>
                <a:effectLst/>
                <a:uLnTx/>
                <a:uFillTx/>
                <a:latin typeface="Arial" panose="020B0604020202020204"/>
                <a:ea typeface="+mn-ea"/>
                <a:cs typeface="+mn-cs"/>
              </a:rPr>
              <a:t>A = Counter</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C"/>
                </a:solidFill>
                <a:effectLst/>
                <a:uLnTx/>
                <a:uFillTx/>
                <a:latin typeface="Arial" panose="020B0604020202020204"/>
                <a:ea typeface="+mn-ea"/>
                <a:cs typeface="+mn-cs"/>
              </a:rPr>
              <a:t>B = Writer</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A295C"/>
                </a:solidFill>
                <a:effectLst/>
                <a:uLnTx/>
                <a:uFillTx/>
                <a:latin typeface="Arial" panose="020B0604020202020204"/>
                <a:ea typeface="+mn-ea"/>
                <a:cs typeface="+mn-cs"/>
              </a:rPr>
              <a:t>C = Data Entry person</a:t>
            </a:r>
          </a:p>
        </p:txBody>
      </p:sp>
      <p:sp>
        <p:nvSpPr>
          <p:cNvPr id="12" name="TextBox 11">
            <a:extLst>
              <a:ext uri="{FF2B5EF4-FFF2-40B4-BE49-F238E27FC236}">
                <a16:creationId xmlns:a16="http://schemas.microsoft.com/office/drawing/2014/main" id="{13E458AA-48ED-672B-4D7D-A39AC80B1D25}"/>
              </a:ext>
            </a:extLst>
          </p:cNvPr>
          <p:cNvSpPr txBox="1"/>
          <p:nvPr/>
        </p:nvSpPr>
        <p:spPr>
          <a:xfrm>
            <a:off x="8866908" y="2990618"/>
            <a:ext cx="3205018" cy="2900794"/>
          </a:xfrm>
          <a:prstGeom prst="rect">
            <a:avLst/>
          </a:prstGeom>
          <a:noFill/>
        </p:spPr>
        <p:txBody>
          <a:bodyPr wrap="square">
            <a:spAutoFit/>
          </a:bodyPr>
          <a:lstStyle/>
          <a:p>
            <a:pPr marL="58738" marR="0" lvl="1" indent="0" algn="ctr" defTabSz="609585" rtl="0" eaLnBrk="1" fontAlgn="auto" latinLnBrk="0" hangingPunct="1">
              <a:lnSpc>
                <a:spcPct val="100000"/>
              </a:lnSpc>
              <a:spcBef>
                <a:spcPts val="0"/>
              </a:spcBef>
              <a:spcAft>
                <a:spcPts val="0"/>
              </a:spcAft>
              <a:buClrTx/>
              <a:buSzTx/>
              <a:buFontTx/>
              <a:buNone/>
              <a:tabLst/>
              <a:defRPr/>
            </a:pPr>
            <a:r>
              <a:rPr kumimoji="0" lang="en-US" altLang="fr-FR" sz="1400" b="1" i="0" u="sng" strike="noStrike" kern="1200" cap="none" spc="0" normalizeH="0" baseline="0" noProof="0" dirty="0">
                <a:ln>
                  <a:noFill/>
                </a:ln>
                <a:solidFill>
                  <a:srgbClr val="002060"/>
                </a:solidFill>
                <a:effectLst/>
                <a:uLnTx/>
                <a:uFillTx/>
                <a:latin typeface="Arial" panose="020B0604020202020204"/>
                <a:ea typeface="+mn-ea"/>
                <a:cs typeface="+mn-cs"/>
              </a:rPr>
              <a:t>Segregation of duties</a:t>
            </a:r>
          </a:p>
          <a:p>
            <a:pPr marL="461963" marR="0" lvl="1" indent="-339725" algn="l" defTabSz="914377" rtl="0" eaLnBrk="1" fontAlgn="auto" latinLnBrk="0" hangingPunct="1">
              <a:lnSpc>
                <a:spcPct val="100000"/>
              </a:lnSpc>
              <a:spcBef>
                <a:spcPts val="300"/>
              </a:spcBef>
              <a:spcAft>
                <a:spcPts val="0"/>
              </a:spcAft>
              <a:buClr>
                <a:srgbClr val="EE0000"/>
              </a:buClr>
              <a:buSzTx/>
              <a:buFont typeface="Arial" panose="020B0604020202020204" pitchFamily="34" charset="0"/>
              <a:buChar char="▬"/>
              <a:tabLst/>
              <a:defRPr/>
            </a:pPr>
            <a:r>
              <a:rPr kumimoji="0" lang="en-US" altLang="fr-FR" sz="1200" b="0" i="0" u="none" strike="noStrike" kern="1200" cap="none" spc="0" normalizeH="0" baseline="0" noProof="0" dirty="0">
                <a:ln>
                  <a:noFill/>
                </a:ln>
                <a:solidFill>
                  <a:srgbClr val="2A295C"/>
                </a:solidFill>
                <a:effectLst/>
                <a:uLnTx/>
                <a:uFillTx/>
                <a:latin typeface="Arial" panose="020B0604020202020204"/>
                <a:ea typeface="+mn-ea"/>
                <a:cs typeface="+mn-cs"/>
              </a:rPr>
              <a:t>Counter and Writer (two employees)</a:t>
            </a:r>
          </a:p>
          <a:p>
            <a:pPr marL="461963" marR="0" lvl="1" indent="-339725" algn="l" defTabSz="914377" rtl="0" eaLnBrk="1" fontAlgn="auto" latinLnBrk="0" hangingPunct="1">
              <a:lnSpc>
                <a:spcPct val="100000"/>
              </a:lnSpc>
              <a:spcBef>
                <a:spcPts val="300"/>
              </a:spcBef>
              <a:spcAft>
                <a:spcPts val="0"/>
              </a:spcAft>
              <a:buClr>
                <a:srgbClr val="EE0000"/>
              </a:buClr>
              <a:buSzTx/>
              <a:buFont typeface="Arial" panose="020B0604020202020204" pitchFamily="34" charset="0"/>
              <a:buChar char="▬"/>
              <a:tabLst/>
              <a:defRPr/>
            </a:pPr>
            <a:r>
              <a:rPr kumimoji="0" lang="en-US" altLang="fr-FR" sz="1200" b="0" i="0" u="none" strike="noStrike" kern="1200" cap="none" spc="0" normalizeH="0" baseline="0" noProof="0" dirty="0">
                <a:ln>
                  <a:noFill/>
                </a:ln>
                <a:solidFill>
                  <a:srgbClr val="2A295C"/>
                </a:solidFill>
                <a:effectLst/>
                <a:uLnTx/>
                <a:uFillTx/>
                <a:latin typeface="Arial" panose="020B0604020202020204"/>
                <a:ea typeface="+mn-ea"/>
                <a:cs typeface="+mn-cs"/>
              </a:rPr>
              <a:t>Data Entry person </a:t>
            </a:r>
          </a:p>
          <a:p>
            <a:pPr marL="684213" marR="0" lvl="2" indent="-166688" algn="l" defTabSz="914377" rtl="0" eaLnBrk="1" fontAlgn="auto" latinLnBrk="0" hangingPunct="1">
              <a:lnSpc>
                <a:spcPct val="100000"/>
              </a:lnSpc>
              <a:spcBef>
                <a:spcPts val="300"/>
              </a:spcBef>
              <a:spcAft>
                <a:spcPts val="0"/>
              </a:spcAft>
              <a:buClr>
                <a:srgbClr val="25359C"/>
              </a:buClr>
              <a:buSzPct val="120000"/>
              <a:buFont typeface="Arial" panose="020B0604020202020204" pitchFamily="34" charset="0"/>
              <a:buChar char="•"/>
              <a:tabLst/>
              <a:defRPr/>
            </a:pPr>
            <a:r>
              <a:rPr kumimoji="0" lang="en-US" altLang="fr-FR" sz="1200" b="0" i="0" u="none" strike="noStrike" kern="1200" cap="none" spc="0" normalizeH="0" baseline="0" noProof="0" dirty="0">
                <a:ln>
                  <a:noFill/>
                </a:ln>
                <a:solidFill>
                  <a:srgbClr val="2A295C"/>
                </a:solidFill>
                <a:effectLst/>
                <a:uLnTx/>
                <a:uFillTx/>
                <a:latin typeface="Arial" panose="020B0604020202020204"/>
                <a:ea typeface="+mn-ea"/>
                <a:cs typeface="+mn-cs"/>
              </a:rPr>
              <a:t>Enter final counts into inventory tool (cannot be counter/writer)</a:t>
            </a:r>
          </a:p>
          <a:p>
            <a:pPr marL="684213" marR="0" lvl="2" indent="-166688" algn="l" defTabSz="914377" rtl="0" eaLnBrk="1" fontAlgn="auto" latinLnBrk="0" hangingPunct="1">
              <a:lnSpc>
                <a:spcPct val="100000"/>
              </a:lnSpc>
              <a:spcBef>
                <a:spcPts val="300"/>
              </a:spcBef>
              <a:spcAft>
                <a:spcPts val="0"/>
              </a:spcAft>
              <a:buClr>
                <a:srgbClr val="25359C"/>
              </a:buClr>
              <a:buSzPct val="120000"/>
              <a:buFont typeface="Arial" panose="020B0604020202020204" pitchFamily="34" charset="0"/>
              <a:buChar char="•"/>
              <a:tabLst/>
              <a:defRPr/>
            </a:pPr>
            <a:r>
              <a:rPr kumimoji="0" lang="en-US" altLang="fr-FR" sz="1200" b="0" i="0" u="none" strike="noStrike" kern="1200" cap="none" spc="0" normalizeH="0" baseline="0" noProof="0" dirty="0">
                <a:ln>
                  <a:noFill/>
                </a:ln>
                <a:solidFill>
                  <a:srgbClr val="2A295C"/>
                </a:solidFill>
                <a:effectLst/>
                <a:uLnTx/>
                <a:uFillTx/>
                <a:latin typeface="Arial" panose="020B0604020202020204"/>
                <a:ea typeface="+mn-ea"/>
                <a:cs typeface="+mn-cs"/>
              </a:rPr>
              <a:t>Enter inventory extension dollar values into UFS Inventory summary report or Hub Accounting document</a:t>
            </a:r>
          </a:p>
          <a:p>
            <a:pPr marL="461963" marR="0" lvl="1" indent="-339725" algn="l" defTabSz="914377" rtl="0" eaLnBrk="1" fontAlgn="auto" latinLnBrk="0" hangingPunct="1">
              <a:lnSpc>
                <a:spcPct val="100000"/>
              </a:lnSpc>
              <a:spcBef>
                <a:spcPts val="300"/>
              </a:spcBef>
              <a:spcAft>
                <a:spcPts val="0"/>
              </a:spcAft>
              <a:buClr>
                <a:srgbClr val="EE0000"/>
              </a:buClr>
              <a:buSzTx/>
              <a:buFont typeface="Arial" panose="020B0604020202020204" pitchFamily="34" charset="0"/>
              <a:buChar char="▬"/>
              <a:tabLst/>
              <a:defRPr/>
            </a:pPr>
            <a:r>
              <a:rPr kumimoji="0" lang="en-US" altLang="fr-FR" sz="1200" b="0" i="0" u="none" strike="noStrike" kern="1200" cap="none" spc="0" normalizeH="0" baseline="0" noProof="0" dirty="0">
                <a:ln>
                  <a:noFill/>
                </a:ln>
                <a:solidFill>
                  <a:srgbClr val="2A295C"/>
                </a:solidFill>
                <a:effectLst/>
                <a:uLnTx/>
                <a:uFillTx/>
                <a:latin typeface="Arial" panose="020B0604020202020204"/>
                <a:ea typeface="+mn-ea"/>
                <a:cs typeface="+mn-cs"/>
              </a:rPr>
              <a:t>Unit Management to review UFS inventory Summary Report and reconcile it to the final inventory extension total report. Must sign/date and keep on file.</a:t>
            </a:r>
          </a:p>
        </p:txBody>
      </p:sp>
    </p:spTree>
    <p:extLst>
      <p:ext uri="{BB962C8B-B14F-4D97-AF65-F5344CB8AC3E}">
        <p14:creationId xmlns:p14="http://schemas.microsoft.com/office/powerpoint/2010/main" val="254273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Past Issues / Audit Points</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Inventory Management</a:t>
            </a:r>
          </a:p>
        </p:txBody>
      </p:sp>
      <p:sp>
        <p:nvSpPr>
          <p:cNvPr id="7" name="TextBox 6">
            <a:extLst>
              <a:ext uri="{FF2B5EF4-FFF2-40B4-BE49-F238E27FC236}">
                <a16:creationId xmlns:a16="http://schemas.microsoft.com/office/drawing/2014/main" id="{245EF256-3E23-27D9-ECD0-996CB2A8E57E}"/>
              </a:ext>
            </a:extLst>
          </p:cNvPr>
          <p:cNvSpPr txBox="1"/>
          <p:nvPr/>
        </p:nvSpPr>
        <p:spPr>
          <a:xfrm>
            <a:off x="6379035" y="5718992"/>
            <a:ext cx="5380572" cy="738664"/>
          </a:xfrm>
          <a:prstGeom prst="rect">
            <a:avLst/>
          </a:prstGeom>
          <a:solidFill>
            <a:schemeClr val="accent4">
              <a:lumMod val="20000"/>
              <a:lumOff val="80000"/>
            </a:schemeClr>
          </a:solidFill>
        </p:spPr>
        <p:txBody>
          <a:bodyPr wrap="square">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6"/>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Units to complete inventory transfer form or complete transfer in UFS when moving inventory from one unit to another, in order for product cost to be accurate.</a:t>
            </a:r>
          </a:p>
        </p:txBody>
      </p:sp>
      <p:sp>
        <p:nvSpPr>
          <p:cNvPr id="8" name="TextBox 7">
            <a:extLst>
              <a:ext uri="{FF2B5EF4-FFF2-40B4-BE49-F238E27FC236}">
                <a16:creationId xmlns:a16="http://schemas.microsoft.com/office/drawing/2014/main" id="{D172BF4E-FC8D-AC6A-E780-D1B9AAE40383}"/>
              </a:ext>
            </a:extLst>
          </p:cNvPr>
          <p:cNvSpPr txBox="1"/>
          <p:nvPr/>
        </p:nvSpPr>
        <p:spPr>
          <a:xfrm>
            <a:off x="392585" y="1782664"/>
            <a:ext cx="5093819" cy="307777"/>
          </a:xfrm>
          <a:prstGeom prst="rect">
            <a:avLst/>
          </a:prstGeom>
          <a:solidFill>
            <a:schemeClr val="accent4">
              <a:lumMod val="20000"/>
              <a:lumOff val="80000"/>
            </a:schemeClr>
          </a:solidFill>
        </p:spPr>
        <p:txBody>
          <a:bodyPr wrap="square" rtlCol="0">
            <a:spAutoFit/>
          </a:bodyPr>
          <a:lstStyle/>
          <a:p>
            <a:pPr marL="454025" marR="0" lvl="2" indent="-342900" algn="l" defTabSz="914400" rtl="0" eaLnBrk="1" fontAlgn="base" latinLnBrk="0" hangingPunct="1">
              <a:lnSpc>
                <a:spcPct val="100000"/>
              </a:lnSpc>
              <a:spcBef>
                <a:spcPts val="600"/>
              </a:spcBef>
              <a:spcAft>
                <a:spcPts val="600"/>
              </a:spcAft>
              <a:buClrTx/>
              <a:buSzPct val="100000"/>
              <a:buFont typeface="+mj-lt"/>
              <a:buAutoNum type="arabicPeriod"/>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Training Documents are not signed and retained at Unit</a:t>
            </a:r>
          </a:p>
        </p:txBody>
      </p:sp>
      <p:sp>
        <p:nvSpPr>
          <p:cNvPr id="9" name="TextBox 8">
            <a:extLst>
              <a:ext uri="{FF2B5EF4-FFF2-40B4-BE49-F238E27FC236}">
                <a16:creationId xmlns:a16="http://schemas.microsoft.com/office/drawing/2014/main" id="{DE1C7673-56F2-98AF-7B94-1BC75EDDA3AB}"/>
              </a:ext>
            </a:extLst>
          </p:cNvPr>
          <p:cNvSpPr txBox="1"/>
          <p:nvPr/>
        </p:nvSpPr>
        <p:spPr>
          <a:xfrm>
            <a:off x="392585" y="2483746"/>
            <a:ext cx="5093819" cy="307777"/>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2"/>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Unit Inventory Sheets do not match UFS Input values </a:t>
            </a:r>
          </a:p>
        </p:txBody>
      </p:sp>
      <p:sp>
        <p:nvSpPr>
          <p:cNvPr id="10" name="TextBox 9">
            <a:extLst>
              <a:ext uri="{FF2B5EF4-FFF2-40B4-BE49-F238E27FC236}">
                <a16:creationId xmlns:a16="http://schemas.microsoft.com/office/drawing/2014/main" id="{460DEA33-9B35-9D44-0655-ED268960E292}"/>
              </a:ext>
            </a:extLst>
          </p:cNvPr>
          <p:cNvSpPr txBox="1"/>
          <p:nvPr/>
        </p:nvSpPr>
        <p:spPr>
          <a:xfrm>
            <a:off x="392586" y="3134094"/>
            <a:ext cx="5131469" cy="523220"/>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3"/>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Lack of Trend analyses performed on Inventory balances by GM/DM</a:t>
            </a:r>
          </a:p>
        </p:txBody>
      </p:sp>
      <p:sp>
        <p:nvSpPr>
          <p:cNvPr id="11" name="TextBox 10">
            <a:extLst>
              <a:ext uri="{FF2B5EF4-FFF2-40B4-BE49-F238E27FC236}">
                <a16:creationId xmlns:a16="http://schemas.microsoft.com/office/drawing/2014/main" id="{8295D364-A41B-B50A-5328-B87449CF4C24}"/>
              </a:ext>
            </a:extLst>
          </p:cNvPr>
          <p:cNvSpPr txBox="1"/>
          <p:nvPr/>
        </p:nvSpPr>
        <p:spPr>
          <a:xfrm>
            <a:off x="392585" y="3803824"/>
            <a:ext cx="5131470" cy="738664"/>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4"/>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Inventory Cost extensions are not consistent with TMC pricing. Non-TMC item costing must match last purchase price</a:t>
            </a:r>
          </a:p>
        </p:txBody>
      </p:sp>
      <p:sp>
        <p:nvSpPr>
          <p:cNvPr id="12" name="TextBox 11">
            <a:extLst>
              <a:ext uri="{FF2B5EF4-FFF2-40B4-BE49-F238E27FC236}">
                <a16:creationId xmlns:a16="http://schemas.microsoft.com/office/drawing/2014/main" id="{7AAC52CD-6616-7434-BB85-8FDDEF5D61BC}"/>
              </a:ext>
            </a:extLst>
          </p:cNvPr>
          <p:cNvSpPr txBox="1"/>
          <p:nvPr/>
        </p:nvSpPr>
        <p:spPr>
          <a:xfrm>
            <a:off x="392586" y="4730890"/>
            <a:ext cx="5131469" cy="738664"/>
          </a:xfrm>
          <a:prstGeom prst="rect">
            <a:avLst/>
          </a:prstGeom>
          <a:solidFill>
            <a:schemeClr val="accent4">
              <a:lumMod val="20000"/>
              <a:lumOff val="80000"/>
            </a:schemeClr>
          </a:solidFill>
        </p:spPr>
        <p:txBody>
          <a:bodyPr wrap="square" rtlCol="0">
            <a:spAutoFit/>
          </a:bodyPr>
          <a:lstStyle/>
          <a:p>
            <a:pPr marL="454025" marR="0" lvl="2" indent="-342900" algn="l" defTabSz="914400" rtl="0" eaLnBrk="1" fontAlgn="base" latinLnBrk="0" hangingPunct="1">
              <a:lnSpc>
                <a:spcPct val="100000"/>
              </a:lnSpc>
              <a:spcBef>
                <a:spcPts val="600"/>
              </a:spcBef>
              <a:spcAft>
                <a:spcPts val="600"/>
              </a:spcAft>
              <a:buClrTx/>
              <a:buSzPct val="100000"/>
              <a:buFont typeface="+mj-lt"/>
              <a:buAutoNum type="arabicPeriod" startAt="5"/>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Segregation of duties, count team members should not be involved in data entry work for inventory extensions or Inventory summary report</a:t>
            </a:r>
          </a:p>
        </p:txBody>
      </p:sp>
      <p:sp>
        <p:nvSpPr>
          <p:cNvPr id="13" name="TextBox 12">
            <a:extLst>
              <a:ext uri="{FF2B5EF4-FFF2-40B4-BE49-F238E27FC236}">
                <a16:creationId xmlns:a16="http://schemas.microsoft.com/office/drawing/2014/main" id="{0B1C1DF5-6C9A-AF4D-BACC-00B78C5789B2}"/>
              </a:ext>
            </a:extLst>
          </p:cNvPr>
          <p:cNvSpPr txBox="1"/>
          <p:nvPr/>
        </p:nvSpPr>
        <p:spPr>
          <a:xfrm>
            <a:off x="354937" y="5773679"/>
            <a:ext cx="5131467" cy="523220"/>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6"/>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Inventory adjustments and transfers are not properly reviewed and documented</a:t>
            </a:r>
          </a:p>
        </p:txBody>
      </p:sp>
      <p:sp>
        <p:nvSpPr>
          <p:cNvPr id="14" name="TextBox 13">
            <a:extLst>
              <a:ext uri="{FF2B5EF4-FFF2-40B4-BE49-F238E27FC236}">
                <a16:creationId xmlns:a16="http://schemas.microsoft.com/office/drawing/2014/main" id="{4DDEFB11-B256-B0A5-E16A-5EE2D9562D1F}"/>
              </a:ext>
            </a:extLst>
          </p:cNvPr>
          <p:cNvSpPr txBox="1"/>
          <p:nvPr/>
        </p:nvSpPr>
        <p:spPr>
          <a:xfrm>
            <a:off x="6409608" y="1687750"/>
            <a:ext cx="5380571" cy="523220"/>
          </a:xfrm>
          <a:prstGeom prst="rect">
            <a:avLst/>
          </a:prstGeom>
          <a:solidFill>
            <a:schemeClr val="accent4">
              <a:lumMod val="20000"/>
              <a:lumOff val="80000"/>
            </a:schemeClr>
          </a:solidFill>
        </p:spPr>
        <p:txBody>
          <a:bodyPr wrap="square" rtlCol="0">
            <a:spAutoFit/>
          </a:bodyPr>
          <a:lstStyle/>
          <a:p>
            <a:pPr marL="454025" marR="0" lvl="2" indent="-342900" algn="l" defTabSz="914400" rtl="0" eaLnBrk="1" fontAlgn="base" latinLnBrk="0" hangingPunct="1">
              <a:lnSpc>
                <a:spcPct val="100000"/>
              </a:lnSpc>
              <a:spcBef>
                <a:spcPts val="600"/>
              </a:spcBef>
              <a:spcAft>
                <a:spcPts val="600"/>
              </a:spcAft>
              <a:buClrTx/>
              <a:buSzPct val="100000"/>
              <a:buFont typeface="+mj-lt"/>
              <a:buAutoNum type="arabicPeriod"/>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GMs complete Ingenium training and conduct TOPS training for employees without access to Ingenium.</a:t>
            </a:r>
          </a:p>
        </p:txBody>
      </p:sp>
      <p:sp>
        <p:nvSpPr>
          <p:cNvPr id="3" name="TextBox 2">
            <a:extLst>
              <a:ext uri="{FF2B5EF4-FFF2-40B4-BE49-F238E27FC236}">
                <a16:creationId xmlns:a16="http://schemas.microsoft.com/office/drawing/2014/main" id="{5FAF2D17-45BF-D9B6-4EB0-2F3FE238D2D6}"/>
              </a:ext>
            </a:extLst>
          </p:cNvPr>
          <p:cNvSpPr txBox="1"/>
          <p:nvPr/>
        </p:nvSpPr>
        <p:spPr>
          <a:xfrm>
            <a:off x="6411423" y="2397621"/>
            <a:ext cx="5380570" cy="523220"/>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2"/>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GMs compare count sheets </a:t>
            </a:r>
            <a:r>
              <a:rPr kumimoji="0" lang="en-US" altLang="fr-FR" sz="1400" b="1" i="0" u="sng" strike="noStrike" kern="0" cap="none" spc="0" normalizeH="0" baseline="0" noProof="0" dirty="0">
                <a:ln>
                  <a:noFill/>
                </a:ln>
                <a:solidFill>
                  <a:srgbClr val="2A295C"/>
                </a:solidFill>
                <a:effectLst/>
                <a:uLnTx/>
                <a:uFillTx/>
                <a:latin typeface="Arial"/>
                <a:ea typeface="+mn-ea"/>
                <a:cs typeface="+mn-cs"/>
              </a:rPr>
              <a:t>to</a:t>
            </a:r>
            <a:r>
              <a:rPr kumimoji="0" lang="en-US" altLang="fr-FR" sz="1400" b="0" i="0" u="none" strike="noStrike" kern="0" cap="none" spc="0" normalizeH="0" baseline="0" noProof="0" dirty="0">
                <a:ln>
                  <a:noFill/>
                </a:ln>
                <a:solidFill>
                  <a:srgbClr val="2A295C"/>
                </a:solidFill>
                <a:effectLst/>
                <a:uLnTx/>
                <a:uFillTx/>
                <a:latin typeface="Arial"/>
                <a:ea typeface="+mn-ea"/>
                <a:cs typeface="+mn-cs"/>
              </a:rPr>
              <a:t> extension report </a:t>
            </a:r>
            <a:r>
              <a:rPr kumimoji="0" lang="en-US" altLang="fr-FR" sz="1400" b="1" i="0" u="sng" strike="noStrike" kern="0" cap="none" spc="0" normalizeH="0" baseline="0" noProof="0" dirty="0">
                <a:ln>
                  <a:noFill/>
                </a:ln>
                <a:solidFill>
                  <a:srgbClr val="2A295C"/>
                </a:solidFill>
                <a:effectLst/>
                <a:uLnTx/>
                <a:uFillTx/>
                <a:latin typeface="Arial"/>
                <a:ea typeface="+mn-ea"/>
                <a:cs typeface="+mn-cs"/>
              </a:rPr>
              <a:t>to</a:t>
            </a:r>
            <a:r>
              <a:rPr kumimoji="0" lang="en-US" altLang="fr-FR" sz="1400" b="0" i="0" u="none" strike="noStrike" kern="0" cap="none" spc="0" normalizeH="0" baseline="0" noProof="0" dirty="0">
                <a:ln>
                  <a:noFill/>
                </a:ln>
                <a:solidFill>
                  <a:srgbClr val="2A295C"/>
                </a:solidFill>
                <a:effectLst/>
                <a:uLnTx/>
                <a:uFillTx/>
                <a:latin typeface="Arial"/>
                <a:ea typeface="+mn-ea"/>
                <a:cs typeface="+mn-cs"/>
              </a:rPr>
              <a:t> UFS Inventory Summary Report prior to transmission.</a:t>
            </a:r>
          </a:p>
        </p:txBody>
      </p:sp>
      <p:sp>
        <p:nvSpPr>
          <p:cNvPr id="6" name="TextBox 5">
            <a:extLst>
              <a:ext uri="{FF2B5EF4-FFF2-40B4-BE49-F238E27FC236}">
                <a16:creationId xmlns:a16="http://schemas.microsoft.com/office/drawing/2014/main" id="{2E7D36EB-207C-AFD1-5EBF-E19A4F0F2986}"/>
              </a:ext>
            </a:extLst>
          </p:cNvPr>
          <p:cNvSpPr txBox="1"/>
          <p:nvPr/>
        </p:nvSpPr>
        <p:spPr>
          <a:xfrm>
            <a:off x="6379034" y="3039116"/>
            <a:ext cx="5380571" cy="692497"/>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3"/>
              <a:tabLst>
                <a:tab pos="1082675" algn="l"/>
                <a:tab pos="2149475" algn="l"/>
                <a:tab pos="8077200" algn="r"/>
              </a:tabLst>
              <a:defRPr/>
            </a:pPr>
            <a:r>
              <a:rPr kumimoji="0" lang="en-US" altLang="fr-FR" sz="1300" b="0" i="0" u="none" strike="noStrike" kern="0" cap="none" spc="0" normalizeH="0" baseline="0" noProof="0" dirty="0">
                <a:ln>
                  <a:noFill/>
                </a:ln>
                <a:solidFill>
                  <a:srgbClr val="2A295C"/>
                </a:solidFill>
                <a:effectLst/>
                <a:uLnTx/>
                <a:uFillTx/>
                <a:latin typeface="Arial"/>
                <a:ea typeface="+mn-ea"/>
                <a:cs typeface="+mn-cs"/>
              </a:rPr>
              <a:t>GM/DM review inventory metrics/trends, investigate variances or abnormalities with the relevant parties and escalate as necessary to take corrective actions and document it.</a:t>
            </a:r>
          </a:p>
        </p:txBody>
      </p:sp>
      <p:sp>
        <p:nvSpPr>
          <p:cNvPr id="15" name="TextBox 14">
            <a:extLst>
              <a:ext uri="{FF2B5EF4-FFF2-40B4-BE49-F238E27FC236}">
                <a16:creationId xmlns:a16="http://schemas.microsoft.com/office/drawing/2014/main" id="{63F34034-CD04-9998-420D-8FFA13B2E56C}"/>
              </a:ext>
            </a:extLst>
          </p:cNvPr>
          <p:cNvSpPr txBox="1"/>
          <p:nvPr/>
        </p:nvSpPr>
        <p:spPr>
          <a:xfrm>
            <a:off x="6379036" y="3795888"/>
            <a:ext cx="5380571" cy="738664"/>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4"/>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GMs review pricing for all items unless they are TMC/Primero Edge automatic pricing. Prices should match most current invoice price.</a:t>
            </a:r>
          </a:p>
        </p:txBody>
      </p:sp>
      <p:sp>
        <p:nvSpPr>
          <p:cNvPr id="16" name="TextBox 15">
            <a:extLst>
              <a:ext uri="{FF2B5EF4-FFF2-40B4-BE49-F238E27FC236}">
                <a16:creationId xmlns:a16="http://schemas.microsoft.com/office/drawing/2014/main" id="{567A1E81-55AF-7700-9B8B-7FAC4707DFF5}"/>
              </a:ext>
            </a:extLst>
          </p:cNvPr>
          <p:cNvSpPr txBox="1"/>
          <p:nvPr/>
        </p:nvSpPr>
        <p:spPr>
          <a:xfrm>
            <a:off x="6379035" y="4685060"/>
            <a:ext cx="5380572" cy="954107"/>
          </a:xfrm>
          <a:prstGeom prst="rect">
            <a:avLst/>
          </a:prstGeom>
          <a:solidFill>
            <a:schemeClr val="accent4">
              <a:lumMod val="20000"/>
              <a:lumOff val="80000"/>
            </a:schemeClr>
          </a:solidFill>
        </p:spPr>
        <p:txBody>
          <a:bodyPr wrap="square" rtlCol="0">
            <a:spAutoFit/>
          </a:bodyPr>
          <a:lstStyle/>
          <a:p>
            <a:pPr marL="460375" marR="0" lvl="2" indent="-342900" algn="l" defTabSz="914400" rtl="0" eaLnBrk="1" fontAlgn="base" latinLnBrk="0" hangingPunct="1">
              <a:lnSpc>
                <a:spcPct val="100000"/>
              </a:lnSpc>
              <a:spcBef>
                <a:spcPts val="600"/>
              </a:spcBef>
              <a:spcAft>
                <a:spcPts val="600"/>
              </a:spcAft>
              <a:buClrTx/>
              <a:buSzPct val="100000"/>
              <a:buFont typeface="+mj-lt"/>
              <a:buAutoNum type="arabicPeriod" startAt="5"/>
              <a:tabLst>
                <a:tab pos="1082675" algn="l"/>
                <a:tab pos="2149475" algn="l"/>
                <a:tab pos="8077200" algn="r"/>
              </a:tabLst>
              <a:defRPr/>
            </a:pPr>
            <a:r>
              <a:rPr kumimoji="0" lang="en-US" altLang="fr-FR" sz="1400" b="0" i="0" u="none" strike="noStrike" kern="0" cap="none" spc="0" normalizeH="0" baseline="0" noProof="0" dirty="0">
                <a:ln>
                  <a:noFill/>
                </a:ln>
                <a:solidFill>
                  <a:srgbClr val="2A295C"/>
                </a:solidFill>
                <a:effectLst/>
                <a:uLnTx/>
                <a:uFillTx/>
                <a:latin typeface="Arial"/>
                <a:ea typeface="+mn-ea"/>
                <a:cs typeface="+mn-cs"/>
              </a:rPr>
              <a:t>Someone other than counter and writer should enter data into extension and UFS summary report. If proper segregation of duties is not in place, the DM is to spot check inventory levels during site visits.</a:t>
            </a:r>
          </a:p>
        </p:txBody>
      </p:sp>
      <p:sp>
        <p:nvSpPr>
          <p:cNvPr id="17" name="TextBox 16">
            <a:extLst>
              <a:ext uri="{FF2B5EF4-FFF2-40B4-BE49-F238E27FC236}">
                <a16:creationId xmlns:a16="http://schemas.microsoft.com/office/drawing/2014/main" id="{BCC9FD8E-D3CA-C9E7-4D24-404EB1ACC056}"/>
              </a:ext>
            </a:extLst>
          </p:cNvPr>
          <p:cNvSpPr txBox="1"/>
          <p:nvPr/>
        </p:nvSpPr>
        <p:spPr>
          <a:xfrm>
            <a:off x="354935" y="1264539"/>
            <a:ext cx="5131469" cy="369332"/>
          </a:xfrm>
          <a:prstGeom prst="rect">
            <a:avLst/>
          </a:prstGeom>
          <a:solidFill>
            <a:srgbClr val="002060"/>
          </a:solidFill>
        </p:spPr>
        <p:txBody>
          <a:bodyPr wrap="square" rtlCol="0" anchor="ctr" anchorCtr="0">
            <a:spAutoFit/>
          </a:bodyPr>
          <a:lstStyle>
            <a:defPPr>
              <a:defRPr lang="en-US"/>
            </a:defPPr>
            <a:lvl3pPr marL="111125" marR="0" lvl="2" algn="ctr" defTabSz="914400" fontAlgn="base">
              <a:spcBef>
                <a:spcPts val="600"/>
              </a:spcBef>
              <a:spcAft>
                <a:spcPts val="600"/>
              </a:spcAft>
              <a:buSzPct val="100000"/>
              <a:tabLst>
                <a:tab pos="1082675" algn="l"/>
                <a:tab pos="2149475" algn="l"/>
                <a:tab pos="8077200" algn="r"/>
              </a:tabLst>
              <a:defRPr sz="1800" kern="0">
                <a:solidFill>
                  <a:schemeClr val="bg1"/>
                </a:solidFill>
                <a:latin typeface="Arial"/>
              </a:defRPr>
            </a:lvl3pPr>
          </a:lstStyle>
          <a:p>
            <a:pPr marL="111125" marR="0" lvl="2" indent="0" algn="ctr" defTabSz="914400" rtl="0" eaLnBrk="1" fontAlgn="base" latinLnBrk="0" hangingPunct="1">
              <a:lnSpc>
                <a:spcPct val="100000"/>
              </a:lnSpc>
              <a:spcBef>
                <a:spcPts val="600"/>
              </a:spcBef>
              <a:spcAft>
                <a:spcPts val="600"/>
              </a:spcAft>
              <a:buClrTx/>
              <a:buSzPct val="100000"/>
              <a:buFontTx/>
              <a:buNone/>
              <a:tabLst>
                <a:tab pos="1082675" algn="l"/>
                <a:tab pos="2149475" algn="l"/>
                <a:tab pos="8077200" algn="r"/>
              </a:tabLst>
              <a:defRPr/>
            </a:pPr>
            <a:r>
              <a:rPr kumimoji="0" lang="en-US" altLang="fr-FR" sz="1800" b="0" i="0" u="none" strike="noStrike" kern="0" cap="none" spc="0" normalizeH="0" baseline="0" noProof="0" dirty="0">
                <a:ln>
                  <a:noFill/>
                </a:ln>
                <a:solidFill>
                  <a:prstClr val="white"/>
                </a:solidFill>
                <a:effectLst/>
                <a:uLnTx/>
                <a:uFillTx/>
                <a:latin typeface="Arial"/>
                <a:ea typeface="+mn-ea"/>
                <a:cs typeface="+mn-cs"/>
              </a:rPr>
              <a:t>Issue</a:t>
            </a:r>
          </a:p>
        </p:txBody>
      </p:sp>
      <p:sp>
        <p:nvSpPr>
          <p:cNvPr id="18" name="TextBox 17">
            <a:extLst>
              <a:ext uri="{FF2B5EF4-FFF2-40B4-BE49-F238E27FC236}">
                <a16:creationId xmlns:a16="http://schemas.microsoft.com/office/drawing/2014/main" id="{2ACCE2D0-92B5-7284-2D1E-939D24A8F36C}"/>
              </a:ext>
            </a:extLst>
          </p:cNvPr>
          <p:cNvSpPr txBox="1"/>
          <p:nvPr/>
        </p:nvSpPr>
        <p:spPr>
          <a:xfrm>
            <a:off x="6409608" y="1268224"/>
            <a:ext cx="5380571" cy="369332"/>
          </a:xfrm>
          <a:prstGeom prst="rect">
            <a:avLst/>
          </a:prstGeom>
          <a:solidFill>
            <a:srgbClr val="002060"/>
          </a:solidFill>
        </p:spPr>
        <p:txBody>
          <a:bodyPr wrap="square" rtlCol="0" anchor="ctr" anchorCtr="0">
            <a:noAutofit/>
          </a:bodyPr>
          <a:lstStyle/>
          <a:p>
            <a:pPr marL="111125" marR="0" lvl="2" indent="0" algn="ctr" defTabSz="914400" rtl="0" eaLnBrk="1" fontAlgn="base" latinLnBrk="0" hangingPunct="1">
              <a:lnSpc>
                <a:spcPct val="100000"/>
              </a:lnSpc>
              <a:spcBef>
                <a:spcPts val="600"/>
              </a:spcBef>
              <a:spcAft>
                <a:spcPts val="600"/>
              </a:spcAft>
              <a:buClrTx/>
              <a:buSzPct val="100000"/>
              <a:buFontTx/>
              <a:buNone/>
              <a:tabLst>
                <a:tab pos="1082675" algn="l"/>
                <a:tab pos="2149475" algn="l"/>
                <a:tab pos="8077200" algn="r"/>
              </a:tabLst>
              <a:defRPr/>
            </a:pPr>
            <a:r>
              <a:rPr kumimoji="0" lang="en-US" altLang="fr-FR" sz="1800" b="0" i="0" u="none" strike="noStrike" kern="0" cap="none" spc="0" normalizeH="0" baseline="0" noProof="0" dirty="0">
                <a:ln>
                  <a:noFill/>
                </a:ln>
                <a:solidFill>
                  <a:prstClr val="white"/>
                </a:solidFill>
                <a:effectLst/>
                <a:uLnTx/>
                <a:uFillTx/>
                <a:latin typeface="Arial"/>
                <a:ea typeface="+mn-ea"/>
                <a:cs typeface="+mn-cs"/>
              </a:rPr>
              <a:t>Resolution</a:t>
            </a:r>
          </a:p>
        </p:txBody>
      </p:sp>
      <p:sp>
        <p:nvSpPr>
          <p:cNvPr id="19" name="Arrow: Right 18">
            <a:extLst>
              <a:ext uri="{FF2B5EF4-FFF2-40B4-BE49-F238E27FC236}">
                <a16:creationId xmlns:a16="http://schemas.microsoft.com/office/drawing/2014/main" id="{F955BE25-81D6-6ED7-3BA7-EA8BF817598F}"/>
              </a:ext>
            </a:extLst>
          </p:cNvPr>
          <p:cNvSpPr/>
          <p:nvPr/>
        </p:nvSpPr>
        <p:spPr>
          <a:xfrm>
            <a:off x="5603357" y="1757936"/>
            <a:ext cx="691117" cy="3693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Arrow: Right 19">
            <a:extLst>
              <a:ext uri="{FF2B5EF4-FFF2-40B4-BE49-F238E27FC236}">
                <a16:creationId xmlns:a16="http://schemas.microsoft.com/office/drawing/2014/main" id="{5F35501D-5C37-6602-0956-50A5E0EE3ED8}"/>
              </a:ext>
            </a:extLst>
          </p:cNvPr>
          <p:cNvSpPr/>
          <p:nvPr/>
        </p:nvSpPr>
        <p:spPr>
          <a:xfrm>
            <a:off x="5603355" y="2457393"/>
            <a:ext cx="691117" cy="3693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Arrow: Right 20">
            <a:extLst>
              <a:ext uri="{FF2B5EF4-FFF2-40B4-BE49-F238E27FC236}">
                <a16:creationId xmlns:a16="http://schemas.microsoft.com/office/drawing/2014/main" id="{41643918-4C78-BE3D-1516-095652C76F71}"/>
              </a:ext>
            </a:extLst>
          </p:cNvPr>
          <p:cNvSpPr/>
          <p:nvPr/>
        </p:nvSpPr>
        <p:spPr>
          <a:xfrm>
            <a:off x="5603356" y="3211038"/>
            <a:ext cx="691117" cy="3693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Arrow: Right 21">
            <a:extLst>
              <a:ext uri="{FF2B5EF4-FFF2-40B4-BE49-F238E27FC236}">
                <a16:creationId xmlns:a16="http://schemas.microsoft.com/office/drawing/2014/main" id="{9F3C931D-87F4-6846-C983-17AD97705F57}"/>
              </a:ext>
            </a:extLst>
          </p:cNvPr>
          <p:cNvSpPr/>
          <p:nvPr/>
        </p:nvSpPr>
        <p:spPr>
          <a:xfrm>
            <a:off x="5603356" y="3980554"/>
            <a:ext cx="691117" cy="3693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Arrow: Right 22">
            <a:extLst>
              <a:ext uri="{FF2B5EF4-FFF2-40B4-BE49-F238E27FC236}">
                <a16:creationId xmlns:a16="http://schemas.microsoft.com/office/drawing/2014/main" id="{ABC56624-82C4-A5A0-911B-6600E8BB37B4}"/>
              </a:ext>
            </a:extLst>
          </p:cNvPr>
          <p:cNvSpPr/>
          <p:nvPr/>
        </p:nvSpPr>
        <p:spPr>
          <a:xfrm>
            <a:off x="5603355" y="4927963"/>
            <a:ext cx="691117" cy="3693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Arrow: Right 23">
            <a:extLst>
              <a:ext uri="{FF2B5EF4-FFF2-40B4-BE49-F238E27FC236}">
                <a16:creationId xmlns:a16="http://schemas.microsoft.com/office/drawing/2014/main" id="{87B43A6A-4A18-00E5-2D6B-DDA4ABEE8892}"/>
              </a:ext>
            </a:extLst>
          </p:cNvPr>
          <p:cNvSpPr/>
          <p:nvPr/>
        </p:nvSpPr>
        <p:spPr>
          <a:xfrm>
            <a:off x="5603355" y="5864859"/>
            <a:ext cx="691117" cy="369332"/>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707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Best Practices</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Inventory Management</a:t>
            </a:r>
          </a:p>
        </p:txBody>
      </p:sp>
      <p:sp>
        <p:nvSpPr>
          <p:cNvPr id="3" name="Content box">
            <a:extLst>
              <a:ext uri="{FF2B5EF4-FFF2-40B4-BE49-F238E27FC236}">
                <a16:creationId xmlns:a16="http://schemas.microsoft.com/office/drawing/2014/main" id="{E9AA2F28-40CB-5868-3D82-E0258EA0A2CD}"/>
              </a:ext>
            </a:extLst>
          </p:cNvPr>
          <p:cNvSpPr txBox="1">
            <a:spLocks noChangeArrowheads="1"/>
          </p:cNvSpPr>
          <p:nvPr/>
        </p:nvSpPr>
        <p:spPr>
          <a:xfrm>
            <a:off x="280556" y="1506427"/>
            <a:ext cx="5296293" cy="4304145"/>
          </a:xfrm>
          <a:prstGeom prst="rect">
            <a:avLst/>
          </a:prstGeom>
          <a:ln w="28575">
            <a:solidFill>
              <a:srgbClr val="002060"/>
            </a:solidFill>
          </a:ln>
        </p:spPr>
        <p:txBody>
          <a:bodyPr anchor="ctr"/>
          <a:lst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1313" marR="0" lvl="1" indent="-285750" algn="l" defTabSz="914377" rtl="0" eaLnBrk="1" fontAlgn="auto" latinLnBrk="0" hangingPunct="1">
              <a:lnSpc>
                <a:spcPct val="100000"/>
              </a:lnSpc>
              <a:spcBef>
                <a:spcPts val="600"/>
              </a:spcBef>
              <a:spcAft>
                <a:spcPts val="6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Have a copy of the Inventory Policy and 10 Golden rules available on-site for easy and quick reference</a:t>
            </a:r>
          </a:p>
          <a:p>
            <a:pPr marL="341313" marR="0" lvl="1" indent="-285750" algn="l" defTabSz="914377" rtl="0" eaLnBrk="1" fontAlgn="auto" latinLnBrk="0" hangingPunct="1">
              <a:lnSpc>
                <a:spcPct val="100000"/>
              </a:lnSpc>
              <a:spcBef>
                <a:spcPts val="600"/>
              </a:spcBef>
              <a:spcAft>
                <a:spcPts val="6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Take inventory count after the last meal is served on to ensure matching of Sales with COGS and Inventory</a:t>
            </a:r>
          </a:p>
          <a:p>
            <a:pPr marL="341313" marR="0" lvl="1" indent="-285750" algn="l" defTabSz="914377" rtl="0" eaLnBrk="1" fontAlgn="auto" latinLnBrk="0" hangingPunct="1">
              <a:lnSpc>
                <a:spcPct val="100000"/>
              </a:lnSpc>
              <a:spcBef>
                <a:spcPts val="600"/>
              </a:spcBef>
              <a:spcAft>
                <a:spcPts val="6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Obsolete, expired, spoiled and damaged inventory should be clearly identified and separated from inventory and not counted. Follow First In First Out.</a:t>
            </a:r>
          </a:p>
          <a:p>
            <a:pPr marL="341313" marR="0" lvl="1" indent="-28575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Ensure that items not to be counted are clearly identified, labeled and segregated</a:t>
            </a:r>
          </a:p>
          <a:p>
            <a:pPr marL="341313" marR="0" lvl="1" indent="-28575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Ensure pricing of inventory is consistent with most current invoice</a:t>
            </a:r>
          </a:p>
          <a:p>
            <a:pPr marL="341313" marR="0" lvl="1" indent="-28575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GM to ensure values are accurately recorded in UFS Inventory Summary Report</a:t>
            </a:r>
          </a:p>
        </p:txBody>
      </p:sp>
      <p:sp>
        <p:nvSpPr>
          <p:cNvPr id="8" name="Content box">
            <a:extLst>
              <a:ext uri="{FF2B5EF4-FFF2-40B4-BE49-F238E27FC236}">
                <a16:creationId xmlns:a16="http://schemas.microsoft.com/office/drawing/2014/main" id="{972D4D30-325E-19B4-01F1-F22D16C988B1}"/>
              </a:ext>
            </a:extLst>
          </p:cNvPr>
          <p:cNvSpPr txBox="1">
            <a:spLocks noChangeArrowheads="1"/>
          </p:cNvSpPr>
          <p:nvPr/>
        </p:nvSpPr>
        <p:spPr bwMode="gray">
          <a:xfrm>
            <a:off x="6152178" y="1506427"/>
            <a:ext cx="5442922" cy="4353183"/>
          </a:xfrm>
          <a:prstGeom prst="rect">
            <a:avLst/>
          </a:prstGeom>
          <a:noFill/>
          <a:ln w="28575">
            <a:solidFill>
              <a:srgbClr val="002060"/>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675" algn="l"/>
                <a:tab pos="1616075" algn="l"/>
                <a:tab pos="2149475" algn="l"/>
                <a:tab pos="8077200"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896938" indent="-176213" algn="l" rtl="0" eaLnBrk="1" fontAlgn="base" hangingPunct="1">
              <a:lnSpc>
                <a:spcPct val="90000"/>
              </a:lnSpc>
              <a:spcBef>
                <a:spcPts val="600"/>
              </a:spcBef>
              <a:spcAft>
                <a:spcPts val="600"/>
              </a:spcAft>
              <a:buClr>
                <a:schemeClr val="bg2"/>
              </a:buClr>
              <a:buSzPct val="120000"/>
              <a:buFontTx/>
              <a:buBlip>
                <a:blip r:embed="rId3"/>
              </a:buBlip>
              <a:tabLst>
                <a:tab pos="1082675" algn="l"/>
                <a:tab pos="2149475" algn="l"/>
                <a:tab pos="8077200" algn="r"/>
              </a:tabLst>
              <a:defRPr sz="1400">
                <a:solidFill>
                  <a:schemeClr val="tx1"/>
                </a:solidFill>
                <a:latin typeface="+mn-lt"/>
              </a:defRPr>
            </a:lvl3pPr>
            <a:lvl4pPr marL="1616075" indent="-179388" algn="l" rtl="0" eaLnBrk="1" fontAlgn="base" hangingPunct="1">
              <a:lnSpc>
                <a:spcPct val="90000"/>
              </a:lnSpc>
              <a:spcBef>
                <a:spcPts val="600"/>
              </a:spcBef>
              <a:spcAft>
                <a:spcPts val="600"/>
              </a:spcAft>
              <a:buClr>
                <a:schemeClr val="bg2"/>
              </a:buClr>
              <a:buSzPct val="120000"/>
              <a:buFontTx/>
              <a:buBlip>
                <a:blip r:embed="rId3"/>
              </a:buBlip>
              <a:tabLst>
                <a:tab pos="1082675" algn="l"/>
                <a:tab pos="1616075" algn="l"/>
                <a:tab pos="2149475" algn="l"/>
                <a:tab pos="8077200" algn="r"/>
              </a:tabLst>
              <a:defRPr sz="1400">
                <a:solidFill>
                  <a:schemeClr val="tx1"/>
                </a:solidFill>
                <a:latin typeface="+mn-lt"/>
              </a:defRPr>
            </a:lvl4pPr>
            <a:lvl5pPr marL="24209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a:lstStyle>
          <a:p>
            <a:pPr marL="404813" marR="0" lvl="1" indent="-285750" algn="l" defTabSz="914377" rtl="0" eaLnBrk="1" fontAlgn="auto" latinLnBrk="0" hangingPunct="1">
              <a:lnSpc>
                <a:spcPct val="100000"/>
              </a:lnSpc>
              <a:spcBef>
                <a:spcPts val="600"/>
              </a:spcBef>
              <a:spcAft>
                <a:spcPts val="4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Work with your DM to obtain support staff to take inventory for Segregation of Duty requirements</a:t>
            </a:r>
          </a:p>
          <a:p>
            <a:pPr marL="404813" marR="0" lvl="1" indent="-285750" algn="l" defTabSz="914377" rtl="0" eaLnBrk="1" fontAlgn="auto" latinLnBrk="0" hangingPunct="1">
              <a:lnSpc>
                <a:spcPct val="100000"/>
              </a:lnSpc>
              <a:spcBef>
                <a:spcPts val="600"/>
              </a:spcBef>
              <a:spcAft>
                <a:spcPts val="4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Ensure inventory count sheets are signed and dated by the counter </a:t>
            </a:r>
            <a:r>
              <a:rPr kumimoji="0" lang="en-US" altLang="fr-FR" sz="1600" b="1" i="0" u="none" strike="noStrike" kern="1200" cap="none" spc="0" normalizeH="0" baseline="0" noProof="0" dirty="0">
                <a:ln>
                  <a:noFill/>
                </a:ln>
                <a:solidFill>
                  <a:srgbClr val="2A295C"/>
                </a:solidFill>
                <a:effectLst/>
                <a:uLnTx/>
                <a:uFillTx/>
                <a:latin typeface="Arial" panose="020B0604020202020204"/>
                <a:ea typeface="+mn-ea"/>
                <a:cs typeface="+mn-cs"/>
              </a:rPr>
              <a:t>and</a:t>
            </a: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 the writer (must be different for Segregation of duties)</a:t>
            </a:r>
          </a:p>
          <a:p>
            <a:pPr marL="404813" marR="0" lvl="1" indent="-285750" algn="l" defTabSz="914377" rtl="0" eaLnBrk="1" fontAlgn="auto" latinLnBrk="0" hangingPunct="1">
              <a:lnSpc>
                <a:spcPct val="100000"/>
              </a:lnSpc>
              <a:spcBef>
                <a:spcPts val="600"/>
              </a:spcBef>
              <a:spcAft>
                <a:spcPts val="400"/>
              </a:spcAft>
              <a:buClr>
                <a:srgbClr val="EE0000"/>
              </a:buClr>
              <a:buSzTx/>
              <a:buFont typeface="Arial" panose="020B0604020202020204" pitchFamily="34" charset="0"/>
              <a:buChar char="▬"/>
              <a:tabLst/>
              <a:defRPr/>
            </a:pPr>
            <a:r>
              <a:rPr kumimoji="0" lang="en-US" altLang="fr-FR" sz="1600" b="0" i="0" u="none" strike="noStrike" kern="1200" cap="none" spc="0" normalizeH="0" baseline="0" noProof="0" dirty="0">
                <a:ln>
                  <a:noFill/>
                </a:ln>
                <a:solidFill>
                  <a:srgbClr val="2A295C"/>
                </a:solidFill>
                <a:effectLst/>
                <a:uLnTx/>
                <a:uFillTx/>
                <a:latin typeface="Arial" panose="020B0604020202020204"/>
                <a:ea typeface="+mn-ea"/>
                <a:cs typeface="+mn-cs"/>
              </a:rPr>
              <a:t>Ensure the UFS Inventory Summary Report is signed and dated by the GM</a:t>
            </a:r>
          </a:p>
          <a:p>
            <a:pPr marL="404813" marR="0" lvl="1" indent="-285750" algn="l" defTabSz="914377" rtl="0" eaLnBrk="1" fontAlgn="auto" latinLnBrk="0" hangingPunct="1">
              <a:lnSpc>
                <a:spcPct val="100000"/>
              </a:lnSpc>
              <a:spcBef>
                <a:spcPts val="600"/>
              </a:spcBef>
              <a:spcAft>
                <a:spcPts val="300"/>
              </a:spcAft>
              <a:buClr>
                <a:srgbClr val="EE0000"/>
              </a:buClr>
              <a:buSzTx/>
              <a:buFont typeface="Arial" panose="020B0604020202020204" pitchFamily="34" charset="0"/>
              <a:buChar char="▬"/>
              <a:tabLst/>
              <a:defRPr/>
            </a:pPr>
            <a:r>
              <a:rPr kumimoji="0" lang="en-US" altLang="fr-FR" sz="1600" b="0" i="0" u="none" strike="noStrike" kern="0" cap="none" spc="0" normalizeH="0" baseline="0" noProof="0" dirty="0">
                <a:ln>
                  <a:noFill/>
                </a:ln>
                <a:solidFill>
                  <a:srgbClr val="2A295C"/>
                </a:solidFill>
                <a:effectLst/>
                <a:uLnTx/>
                <a:uFillTx/>
                <a:latin typeface="Arial" panose="020B0604020202020204"/>
                <a:ea typeface="+mn-ea"/>
                <a:cs typeface="+mn-cs"/>
              </a:rPr>
              <a:t>Review inventory results against prior financial results by using data and KPI’s identified in E=Vision:</a:t>
            </a:r>
          </a:p>
          <a:p>
            <a:pPr marL="690563" marR="0" lvl="2" indent="-195263" algn="l" defTabSz="914377" rtl="0" eaLnBrk="1" fontAlgn="base" latinLnBrk="0" hangingPunct="1">
              <a:lnSpc>
                <a:spcPct val="100000"/>
              </a:lnSpc>
              <a:spcBef>
                <a:spcPts val="600"/>
              </a:spcBef>
              <a:spcAft>
                <a:spcPts val="300"/>
              </a:spcAft>
              <a:buClr>
                <a:srgbClr val="283897"/>
              </a:buClr>
              <a:buSzPct val="80000"/>
              <a:buFont typeface="Arial" panose="020B0604020202020204" pitchFamily="34" charset="0"/>
              <a:buChar char="•"/>
              <a:tabLst>
                <a:tab pos="1082675" algn="l"/>
                <a:tab pos="2149475" algn="l"/>
                <a:tab pos="8077200" algn="r"/>
              </a:tabLst>
              <a:defRPr/>
            </a:pPr>
            <a:r>
              <a:rPr kumimoji="0" lang="en-US" altLang="fr-FR" sz="1500" b="0" i="0" u="none" strike="noStrike" kern="1200" cap="none" spc="0" normalizeH="0" baseline="0" noProof="0" dirty="0">
                <a:ln>
                  <a:noFill/>
                </a:ln>
                <a:solidFill>
                  <a:srgbClr val="199CDA"/>
                </a:solidFill>
                <a:effectLst/>
                <a:uLnTx/>
                <a:uFillTx/>
                <a:latin typeface="Arial" panose="020B0604020202020204"/>
                <a:ea typeface="+mn-ea"/>
                <a:cs typeface="+mn-cs"/>
              </a:rPr>
              <a:t>Examine trends of COGS % to Revenue</a:t>
            </a:r>
          </a:p>
          <a:p>
            <a:pPr marL="690563" marR="0" lvl="2" indent="-195263" algn="l" defTabSz="914377" rtl="0" eaLnBrk="1" fontAlgn="base" latinLnBrk="0" hangingPunct="1">
              <a:lnSpc>
                <a:spcPct val="100000"/>
              </a:lnSpc>
              <a:spcBef>
                <a:spcPts val="600"/>
              </a:spcBef>
              <a:spcAft>
                <a:spcPts val="300"/>
              </a:spcAft>
              <a:buClr>
                <a:srgbClr val="283897"/>
              </a:buClr>
              <a:buSzPct val="80000"/>
              <a:buFont typeface="Arial" panose="020B0604020202020204" pitchFamily="34" charset="0"/>
              <a:buChar char="•"/>
              <a:tabLst>
                <a:tab pos="1082675" algn="l"/>
                <a:tab pos="2149475" algn="l"/>
                <a:tab pos="8077200" algn="r"/>
              </a:tabLst>
              <a:defRPr/>
            </a:pPr>
            <a:r>
              <a:rPr kumimoji="0" lang="en-US" altLang="fr-FR" sz="1500" b="0" i="0" u="none" strike="noStrike" kern="1200" cap="none" spc="0" normalizeH="0" baseline="0" noProof="0" dirty="0">
                <a:ln>
                  <a:noFill/>
                </a:ln>
                <a:solidFill>
                  <a:srgbClr val="199CDA"/>
                </a:solidFill>
                <a:effectLst/>
                <a:uLnTx/>
                <a:uFillTx/>
                <a:latin typeface="Arial" panose="020B0604020202020204"/>
                <a:ea typeface="+mn-ea"/>
                <a:cs typeface="+mn-cs"/>
              </a:rPr>
              <a:t>Review DOH and inventory value trends</a:t>
            </a:r>
          </a:p>
          <a:p>
            <a:pPr marL="690563" marR="0" lvl="2" indent="-195263" algn="l" defTabSz="914377" rtl="0" eaLnBrk="1" fontAlgn="base" latinLnBrk="0" hangingPunct="1">
              <a:lnSpc>
                <a:spcPct val="100000"/>
              </a:lnSpc>
              <a:spcBef>
                <a:spcPts val="600"/>
              </a:spcBef>
              <a:spcAft>
                <a:spcPts val="600"/>
              </a:spcAft>
              <a:buClr>
                <a:srgbClr val="283897"/>
              </a:buClr>
              <a:buSzPct val="80000"/>
              <a:buFont typeface="Arial" panose="020B0604020202020204" pitchFamily="34" charset="0"/>
              <a:buChar char="•"/>
              <a:tabLst>
                <a:tab pos="1082675" algn="l"/>
                <a:tab pos="2149475" algn="l"/>
                <a:tab pos="8077200" algn="r"/>
              </a:tabLst>
              <a:defRPr/>
            </a:pPr>
            <a:r>
              <a:rPr kumimoji="0" lang="en-US" altLang="fr-FR" sz="1500" b="0" i="0" u="none" strike="noStrike" kern="1200" cap="none" spc="0" normalizeH="0" baseline="0" noProof="0" dirty="0">
                <a:ln>
                  <a:noFill/>
                </a:ln>
                <a:solidFill>
                  <a:srgbClr val="199CDA"/>
                </a:solidFill>
                <a:effectLst/>
                <a:uLnTx/>
                <a:uFillTx/>
                <a:latin typeface="Arial" panose="020B0604020202020204"/>
                <a:ea typeface="+mn-ea"/>
                <a:cs typeface="+mn-cs"/>
              </a:rPr>
              <a:t>Review inventory trend results with site Management to understand fluctuations and reasons</a:t>
            </a:r>
          </a:p>
        </p:txBody>
      </p:sp>
      <p:sp>
        <p:nvSpPr>
          <p:cNvPr id="9" name="TextBox 8">
            <a:extLst>
              <a:ext uri="{FF2B5EF4-FFF2-40B4-BE49-F238E27FC236}">
                <a16:creationId xmlns:a16="http://schemas.microsoft.com/office/drawing/2014/main" id="{553E7065-3128-5162-39B4-4DA48272250E}"/>
              </a:ext>
            </a:extLst>
          </p:cNvPr>
          <p:cNvSpPr txBox="1"/>
          <p:nvPr/>
        </p:nvSpPr>
        <p:spPr>
          <a:xfrm>
            <a:off x="580388" y="6026724"/>
            <a:ext cx="11014712" cy="338554"/>
          </a:xfrm>
          <a:prstGeom prst="rect">
            <a:avLst/>
          </a:prstGeom>
          <a:solidFill>
            <a:srgbClr val="25359C"/>
          </a:solidFill>
        </p:spPr>
        <p:txBody>
          <a:bodyPr wrap="square" rtlCol="0">
            <a:spAutoFit/>
          </a:bodyPr>
          <a:lstStyle/>
          <a:p>
            <a:pPr marL="0" marR="0" lvl="1" indent="0" algn="ctr" defTabSz="609585" rtl="0" eaLnBrk="1" fontAlgn="auto" latinLnBrk="0" hangingPunct="1">
              <a:lnSpc>
                <a:spcPct val="100000"/>
              </a:lnSpc>
              <a:spcBef>
                <a:spcPts val="0"/>
              </a:spcBef>
              <a:spcAft>
                <a:spcPts val="0"/>
              </a:spcAft>
              <a:buClrTx/>
              <a:buSzTx/>
              <a:buFontTx/>
              <a:buNone/>
              <a:tabLst/>
              <a:defRPr/>
            </a:pPr>
            <a:r>
              <a:rPr kumimoji="0" lang="en-US" altLang="fr-FR" sz="1600" b="0" i="0" u="none" strike="noStrike" kern="1200" cap="none" spc="0" normalizeH="0" baseline="0" noProof="0" dirty="0">
                <a:ln>
                  <a:noFill/>
                </a:ln>
                <a:solidFill>
                  <a:prstClr val="white"/>
                </a:solidFill>
                <a:effectLst/>
                <a:uLnTx/>
                <a:uFillTx/>
                <a:latin typeface="Arial" panose="020B0604020202020204"/>
                <a:ea typeface="+mn-ea"/>
                <a:cs typeface="+mn-cs"/>
              </a:rPr>
              <a:t>Review AF Topic 832-01 Inventory Control for further information</a:t>
            </a:r>
          </a:p>
        </p:txBody>
      </p:sp>
      <p:pic>
        <p:nvPicPr>
          <p:cNvPr id="11" name="Graphic 10">
            <a:extLst>
              <a:ext uri="{FF2B5EF4-FFF2-40B4-BE49-F238E27FC236}">
                <a16:creationId xmlns:a16="http://schemas.microsoft.com/office/drawing/2014/main" id="{C8FA441F-3BC2-528D-C8E5-7163675F2E13}"/>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1112" y="1664052"/>
            <a:ext cx="457200" cy="457200"/>
          </a:xfrm>
          <a:prstGeom prst="rect">
            <a:avLst/>
          </a:prstGeom>
        </p:spPr>
      </p:pic>
      <p:pic>
        <p:nvPicPr>
          <p:cNvPr id="13" name="Graphic 12">
            <a:extLst>
              <a:ext uri="{FF2B5EF4-FFF2-40B4-BE49-F238E27FC236}">
                <a16:creationId xmlns:a16="http://schemas.microsoft.com/office/drawing/2014/main" id="{45A80499-4371-03F5-CDD6-443E310647D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1114" y="2373745"/>
            <a:ext cx="437178" cy="437178"/>
          </a:xfrm>
          <a:prstGeom prst="rect">
            <a:avLst/>
          </a:prstGeom>
        </p:spPr>
      </p:pic>
      <p:pic>
        <p:nvPicPr>
          <p:cNvPr id="16" name="Graphic 15">
            <a:extLst>
              <a:ext uri="{FF2B5EF4-FFF2-40B4-BE49-F238E27FC236}">
                <a16:creationId xmlns:a16="http://schemas.microsoft.com/office/drawing/2014/main" id="{ECA1F355-33B5-3DCD-1D21-62FC7A3A8DF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51123" y="3079685"/>
            <a:ext cx="437178" cy="437178"/>
          </a:xfrm>
          <a:prstGeom prst="rect">
            <a:avLst/>
          </a:prstGeom>
        </p:spPr>
      </p:pic>
      <p:pic>
        <p:nvPicPr>
          <p:cNvPr id="17" name="Graphic 16">
            <a:extLst>
              <a:ext uri="{FF2B5EF4-FFF2-40B4-BE49-F238E27FC236}">
                <a16:creationId xmlns:a16="http://schemas.microsoft.com/office/drawing/2014/main" id="{C29DD1B1-1967-138C-1007-FF3C003C142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51121" y="3794350"/>
            <a:ext cx="437180" cy="437180"/>
          </a:xfrm>
          <a:prstGeom prst="rect">
            <a:avLst/>
          </a:prstGeom>
        </p:spPr>
      </p:pic>
      <p:pic>
        <p:nvPicPr>
          <p:cNvPr id="18" name="Graphic 17">
            <a:extLst>
              <a:ext uri="{FF2B5EF4-FFF2-40B4-BE49-F238E27FC236}">
                <a16:creationId xmlns:a16="http://schemas.microsoft.com/office/drawing/2014/main" id="{D5C3ACE4-6EB1-604A-630E-55BFAFB73B5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61132" y="4529669"/>
            <a:ext cx="437180" cy="437180"/>
          </a:xfrm>
          <a:prstGeom prst="rect">
            <a:avLst/>
          </a:prstGeom>
        </p:spPr>
      </p:pic>
      <p:pic>
        <p:nvPicPr>
          <p:cNvPr id="22" name="Graphic 21">
            <a:extLst>
              <a:ext uri="{FF2B5EF4-FFF2-40B4-BE49-F238E27FC236}">
                <a16:creationId xmlns:a16="http://schemas.microsoft.com/office/drawing/2014/main" id="{076E7598-CF02-36C4-2A46-B0552ACB3E6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61132" y="5240298"/>
            <a:ext cx="437180" cy="437180"/>
          </a:xfrm>
          <a:prstGeom prst="rect">
            <a:avLst/>
          </a:prstGeom>
        </p:spPr>
      </p:pic>
    </p:spTree>
    <p:extLst>
      <p:ext uri="{BB962C8B-B14F-4D97-AF65-F5344CB8AC3E}">
        <p14:creationId xmlns:p14="http://schemas.microsoft.com/office/powerpoint/2010/main" val="76803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E=Vision</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Inventory Trend Analysis</a:t>
            </a:r>
          </a:p>
        </p:txBody>
      </p:sp>
      <p:pic>
        <p:nvPicPr>
          <p:cNvPr id="11" name="Picture 10">
            <a:extLst>
              <a:ext uri="{FF2B5EF4-FFF2-40B4-BE49-F238E27FC236}">
                <a16:creationId xmlns:a16="http://schemas.microsoft.com/office/drawing/2014/main" id="{80B4DB1B-CE69-8571-BEB8-4046F7472D00}"/>
              </a:ext>
            </a:extLst>
          </p:cNvPr>
          <p:cNvPicPr>
            <a:picLocks noChangeAspect="1"/>
          </p:cNvPicPr>
          <p:nvPr/>
        </p:nvPicPr>
        <p:blipFill>
          <a:blip r:embed="rId3"/>
          <a:stretch>
            <a:fillRect/>
          </a:stretch>
        </p:blipFill>
        <p:spPr>
          <a:xfrm>
            <a:off x="1157591" y="1224016"/>
            <a:ext cx="7956610" cy="5249601"/>
          </a:xfrm>
          <a:prstGeom prst="rect">
            <a:avLst/>
          </a:prstGeom>
          <a:ln>
            <a:solidFill>
              <a:schemeClr val="tx1"/>
            </a:solidFill>
          </a:ln>
        </p:spPr>
      </p:pic>
      <p:sp>
        <p:nvSpPr>
          <p:cNvPr id="12" name="Rectangle: Rounded Corners 11">
            <a:extLst>
              <a:ext uri="{FF2B5EF4-FFF2-40B4-BE49-F238E27FC236}">
                <a16:creationId xmlns:a16="http://schemas.microsoft.com/office/drawing/2014/main" id="{195DA524-BFE8-5A1F-7512-97106FE6CBED}"/>
              </a:ext>
            </a:extLst>
          </p:cNvPr>
          <p:cNvSpPr/>
          <p:nvPr/>
        </p:nvSpPr>
        <p:spPr bwMode="auto">
          <a:xfrm>
            <a:off x="9251004" y="2215422"/>
            <a:ext cx="2772383" cy="1108953"/>
          </a:xfrm>
          <a:prstGeom prst="roundRect">
            <a:avLst/>
          </a:prstGeom>
          <a:solidFill>
            <a:srgbClr val="25359C"/>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charset="0"/>
                <a:ea typeface="+mn-ea"/>
                <a:cs typeface="+mn-cs"/>
              </a:rPr>
              <a:t>Click on “Inventory” &amp; update hierarchy if needed</a:t>
            </a:r>
          </a:p>
        </p:txBody>
      </p:sp>
      <p:sp>
        <p:nvSpPr>
          <p:cNvPr id="13" name="Arrow: Right 12">
            <a:extLst>
              <a:ext uri="{FF2B5EF4-FFF2-40B4-BE49-F238E27FC236}">
                <a16:creationId xmlns:a16="http://schemas.microsoft.com/office/drawing/2014/main" id="{DC44F4FF-ECFB-0E15-AE87-87E0C3900897}"/>
              </a:ext>
            </a:extLst>
          </p:cNvPr>
          <p:cNvSpPr/>
          <p:nvPr/>
        </p:nvSpPr>
        <p:spPr>
          <a:xfrm>
            <a:off x="439432" y="4581728"/>
            <a:ext cx="893257" cy="35849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629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E=Vision</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Inventory Trend Analysis (</a:t>
            </a:r>
            <a:r>
              <a:rPr lang="en-US" dirty="0" err="1"/>
              <a:t>con’t</a:t>
            </a:r>
            <a:r>
              <a:rPr lang="en-US" dirty="0"/>
              <a:t>)</a:t>
            </a:r>
          </a:p>
        </p:txBody>
      </p:sp>
      <p:pic>
        <p:nvPicPr>
          <p:cNvPr id="8" name="Picture 7">
            <a:extLst>
              <a:ext uri="{FF2B5EF4-FFF2-40B4-BE49-F238E27FC236}">
                <a16:creationId xmlns:a16="http://schemas.microsoft.com/office/drawing/2014/main" id="{BCFBA7B2-1017-E110-25B5-35270255349B}"/>
              </a:ext>
            </a:extLst>
          </p:cNvPr>
          <p:cNvPicPr>
            <a:picLocks noChangeAspect="1"/>
          </p:cNvPicPr>
          <p:nvPr/>
        </p:nvPicPr>
        <p:blipFill>
          <a:blip r:embed="rId3"/>
          <a:stretch>
            <a:fillRect/>
          </a:stretch>
        </p:blipFill>
        <p:spPr>
          <a:xfrm>
            <a:off x="461676" y="922746"/>
            <a:ext cx="7812215" cy="5558457"/>
          </a:xfrm>
          <a:prstGeom prst="rect">
            <a:avLst/>
          </a:prstGeom>
          <a:ln>
            <a:solidFill>
              <a:schemeClr val="tx1"/>
            </a:solidFill>
          </a:ln>
        </p:spPr>
      </p:pic>
      <p:sp>
        <p:nvSpPr>
          <p:cNvPr id="7" name="TextBox 6">
            <a:extLst>
              <a:ext uri="{FF2B5EF4-FFF2-40B4-BE49-F238E27FC236}">
                <a16:creationId xmlns:a16="http://schemas.microsoft.com/office/drawing/2014/main" id="{8C6BF48C-A6B2-0784-C5D0-AFF4E7EF2EB1}"/>
              </a:ext>
            </a:extLst>
          </p:cNvPr>
          <p:cNvSpPr txBox="1"/>
          <p:nvPr/>
        </p:nvSpPr>
        <p:spPr>
          <a:xfrm>
            <a:off x="8780050" y="701849"/>
            <a:ext cx="2994977" cy="3447098"/>
          </a:xfrm>
          <a:prstGeom prst="rect">
            <a:avLst/>
          </a:prstGeom>
          <a:solidFill>
            <a:schemeClr val="accent4"/>
          </a:solidFill>
        </p:spPr>
        <p:txBody>
          <a:bodyPr wrap="square" rtlCol="0" anchor="t"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Key Inventory Metrics to review:</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Inventory Change </a:t>
            </a: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Current Pd. vs Prior Pd. &amp; Same Pd. LY. No change in POP or Negative Inventory Balance need to be checked; Change vs LY, did business change?</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Inventory Trends </a:t>
            </a: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Inventory balance comparisons to Revenues, Spend, UOP and DOH (e.g., investigate inventory growth while Revenue decline)</a:t>
            </a:r>
          </a:p>
          <a:p>
            <a:pPr marL="171450" marR="0" lvl="0" indent="-171450" algn="l" defTabSz="609585"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Days on Hand (DOH) </a:t>
            </a: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Compare unit inventory turnover rate vs. Segment Targets; Excessive DOH may lead to theft, spoilage, over portioning and inefficient use of Sodexo resources such as extra labor to put away orders and conduct inventory count</a:t>
            </a:r>
          </a:p>
        </p:txBody>
      </p:sp>
    </p:spTree>
    <p:extLst>
      <p:ext uri="{BB962C8B-B14F-4D97-AF65-F5344CB8AC3E}">
        <p14:creationId xmlns:p14="http://schemas.microsoft.com/office/powerpoint/2010/main" val="132162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SodexoNet Inventory Management page</a:t>
            </a:r>
          </a:p>
        </p:txBody>
      </p:sp>
      <p:pic>
        <p:nvPicPr>
          <p:cNvPr id="6" name="Picture 5" descr="Graphical user interface, text, website&#10;&#10;Description automatically generated">
            <a:extLst>
              <a:ext uri="{FF2B5EF4-FFF2-40B4-BE49-F238E27FC236}">
                <a16:creationId xmlns:a16="http://schemas.microsoft.com/office/drawing/2014/main" id="{1D54DB89-6950-AA7C-69FA-85A9A2384AB0}"/>
              </a:ext>
            </a:extLst>
          </p:cNvPr>
          <p:cNvPicPr>
            <a:picLocks noChangeAspect="1"/>
          </p:cNvPicPr>
          <p:nvPr/>
        </p:nvPicPr>
        <p:blipFill rotWithShape="1">
          <a:blip r:embed="rId3"/>
          <a:srcRect l="25970" t="14277" r="6157" b="6618"/>
          <a:stretch/>
        </p:blipFill>
        <p:spPr>
          <a:xfrm>
            <a:off x="439432" y="1223302"/>
            <a:ext cx="5207554" cy="2874082"/>
          </a:xfrm>
          <a:prstGeom prst="rect">
            <a:avLst/>
          </a:prstGeom>
          <a:noFill/>
          <a:ln>
            <a:solidFill>
              <a:schemeClr val="tx1"/>
            </a:solidFill>
          </a:ln>
        </p:spPr>
      </p:pic>
      <p:pic>
        <p:nvPicPr>
          <p:cNvPr id="7" name="Picture 6">
            <a:extLst>
              <a:ext uri="{FF2B5EF4-FFF2-40B4-BE49-F238E27FC236}">
                <a16:creationId xmlns:a16="http://schemas.microsoft.com/office/drawing/2014/main" id="{9CACFAC2-C080-24B5-8AD1-05B7CCD27962}"/>
              </a:ext>
            </a:extLst>
          </p:cNvPr>
          <p:cNvPicPr>
            <a:picLocks noChangeAspect="1"/>
          </p:cNvPicPr>
          <p:nvPr/>
        </p:nvPicPr>
        <p:blipFill rotWithShape="1">
          <a:blip r:embed="rId4"/>
          <a:srcRect l="27786" t="38067" r="7882" b="21174"/>
          <a:stretch/>
        </p:blipFill>
        <p:spPr>
          <a:xfrm>
            <a:off x="4216571" y="2628730"/>
            <a:ext cx="6317380" cy="2254155"/>
          </a:xfrm>
          <a:prstGeom prst="rect">
            <a:avLst/>
          </a:prstGeom>
          <a:noFill/>
          <a:ln>
            <a:solidFill>
              <a:schemeClr val="tx1"/>
            </a:solidFill>
          </a:ln>
        </p:spPr>
      </p:pic>
      <p:sp>
        <p:nvSpPr>
          <p:cNvPr id="10" name="Arrow: Down 9">
            <a:extLst>
              <a:ext uri="{FF2B5EF4-FFF2-40B4-BE49-F238E27FC236}">
                <a16:creationId xmlns:a16="http://schemas.microsoft.com/office/drawing/2014/main" id="{90308264-3071-7313-9EC3-11C3BE15B8FE}"/>
              </a:ext>
            </a:extLst>
          </p:cNvPr>
          <p:cNvSpPr/>
          <p:nvPr/>
        </p:nvSpPr>
        <p:spPr bwMode="auto">
          <a:xfrm>
            <a:off x="7612912" y="1754156"/>
            <a:ext cx="324621" cy="581545"/>
          </a:xfrm>
          <a:prstGeom prst="downArrow">
            <a:avLst>
              <a:gd name="adj1" fmla="val 35106"/>
              <a:gd name="adj2" fmla="val 50000"/>
            </a:avLst>
          </a:prstGeom>
          <a:solidFill>
            <a:srgbClr val="002060"/>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charset="0"/>
              <a:ea typeface="+mn-ea"/>
              <a:cs typeface="+mn-cs"/>
            </a:endParaRPr>
          </a:p>
        </p:txBody>
      </p:sp>
      <p:sp>
        <p:nvSpPr>
          <p:cNvPr id="12" name="TextBox 11">
            <a:extLst>
              <a:ext uri="{FF2B5EF4-FFF2-40B4-BE49-F238E27FC236}">
                <a16:creationId xmlns:a16="http://schemas.microsoft.com/office/drawing/2014/main" id="{060620CF-7D31-8F15-00A1-79D62CB2FD79}"/>
              </a:ext>
            </a:extLst>
          </p:cNvPr>
          <p:cNvSpPr txBox="1"/>
          <p:nvPr/>
        </p:nvSpPr>
        <p:spPr>
          <a:xfrm>
            <a:off x="6108937" y="1872184"/>
            <a:ext cx="1382233" cy="3693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Scroll down</a:t>
            </a:r>
          </a:p>
        </p:txBody>
      </p:sp>
      <p:pic>
        <p:nvPicPr>
          <p:cNvPr id="14" name="Picture 13">
            <a:extLst>
              <a:ext uri="{FF2B5EF4-FFF2-40B4-BE49-F238E27FC236}">
                <a16:creationId xmlns:a16="http://schemas.microsoft.com/office/drawing/2014/main" id="{8960E646-17CF-0E2E-7AD3-36C784CC57EF}"/>
              </a:ext>
            </a:extLst>
          </p:cNvPr>
          <p:cNvPicPr>
            <a:picLocks noChangeAspect="1"/>
          </p:cNvPicPr>
          <p:nvPr/>
        </p:nvPicPr>
        <p:blipFill rotWithShape="1">
          <a:blip r:embed="rId5"/>
          <a:srcRect l="27758" t="30096" r="42664" b="7715"/>
          <a:stretch/>
        </p:blipFill>
        <p:spPr>
          <a:xfrm>
            <a:off x="9239693" y="3887289"/>
            <a:ext cx="2748669" cy="2486587"/>
          </a:xfrm>
          <a:prstGeom prst="rect">
            <a:avLst/>
          </a:prstGeom>
          <a:noFill/>
          <a:ln>
            <a:solidFill>
              <a:schemeClr val="tx1"/>
            </a:solidFill>
          </a:ln>
        </p:spPr>
      </p:pic>
      <p:sp>
        <p:nvSpPr>
          <p:cNvPr id="15" name="Arrow: Down 14">
            <a:extLst>
              <a:ext uri="{FF2B5EF4-FFF2-40B4-BE49-F238E27FC236}">
                <a16:creationId xmlns:a16="http://schemas.microsoft.com/office/drawing/2014/main" id="{2948B0DD-DD81-F3A2-0994-FDE7A515F390}"/>
              </a:ext>
            </a:extLst>
          </p:cNvPr>
          <p:cNvSpPr/>
          <p:nvPr/>
        </p:nvSpPr>
        <p:spPr bwMode="auto">
          <a:xfrm>
            <a:off x="10816104" y="2976900"/>
            <a:ext cx="284287" cy="603347"/>
          </a:xfrm>
          <a:prstGeom prst="downArrow">
            <a:avLst/>
          </a:prstGeom>
          <a:solidFill>
            <a:srgbClr val="002060"/>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52940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C94B0F43-5981-4EBF-AA0D-E99326FFF3C1}"/>
              </a:ext>
            </a:extLst>
          </p:cNvPr>
          <p:cNvSpPr>
            <a:spLocks noGrp="1"/>
          </p:cNvSpPr>
          <p:nvPr>
            <p:ph type="body" sz="quarter" idx="62"/>
          </p:nvPr>
        </p:nvSpPr>
        <p:spPr>
          <a:xfrm>
            <a:off x="3136737" y="5455629"/>
            <a:ext cx="1289192" cy="416165"/>
          </a:xfrm>
        </p:spPr>
        <p:txBody>
          <a:bodyPr/>
          <a:lstStyle/>
          <a:p>
            <a:endParaRPr lang="fr-FR" dirty="0"/>
          </a:p>
        </p:txBody>
      </p:sp>
      <p:sp>
        <p:nvSpPr>
          <p:cNvPr id="22" name="Espace réservé du texte 21">
            <a:extLst>
              <a:ext uri="{FF2B5EF4-FFF2-40B4-BE49-F238E27FC236}">
                <a16:creationId xmlns:a16="http://schemas.microsoft.com/office/drawing/2014/main" id="{9737E8AA-65B0-4126-AB2D-0B2871F33BA8}"/>
              </a:ext>
            </a:extLst>
          </p:cNvPr>
          <p:cNvSpPr>
            <a:spLocks noGrp="1"/>
          </p:cNvSpPr>
          <p:nvPr>
            <p:ph type="body" sz="quarter" idx="63"/>
          </p:nvPr>
        </p:nvSpPr>
        <p:spPr>
          <a:xfrm>
            <a:off x="3986382" y="5619708"/>
            <a:ext cx="258728" cy="223555"/>
          </a:xfrm>
        </p:spPr>
        <p:txBody>
          <a:bodyPr/>
          <a:lstStyle/>
          <a:p>
            <a:endParaRPr lang="fr-FR" dirty="0"/>
          </a:p>
        </p:txBody>
      </p:sp>
      <p:sp>
        <p:nvSpPr>
          <p:cNvPr id="5" name="Picture Placeholder 4">
            <a:extLst>
              <a:ext uri="{FF2B5EF4-FFF2-40B4-BE49-F238E27FC236}">
                <a16:creationId xmlns:a16="http://schemas.microsoft.com/office/drawing/2014/main" id="{CEA3AF79-E3A6-C41F-EF3A-3E7D6CCF3A94}"/>
              </a:ext>
            </a:extLst>
          </p:cNvPr>
          <p:cNvSpPr>
            <a:spLocks noGrp="1"/>
          </p:cNvSpPr>
          <p:nvPr>
            <p:ph type="pic" sz="quarter" idx="64"/>
          </p:nvPr>
        </p:nvSpPr>
        <p:spPr>
          <a:xfrm>
            <a:off x="0" y="0"/>
            <a:ext cx="12192000" cy="6858000"/>
          </a:xfrm>
        </p:spPr>
        <p:txBody>
          <a:bodyPr/>
          <a:lstStyle/>
          <a:p>
            <a:endParaRPr lang="en-US" dirty="0"/>
          </a:p>
        </p:txBody>
      </p:sp>
      <p:sp>
        <p:nvSpPr>
          <p:cNvPr id="6" name="Espace réservé du texte 8">
            <a:extLst>
              <a:ext uri="{FF2B5EF4-FFF2-40B4-BE49-F238E27FC236}">
                <a16:creationId xmlns:a16="http://schemas.microsoft.com/office/drawing/2014/main" id="{68E80DBC-B5D1-CC4D-4EBB-A6E748A16302}"/>
              </a:ext>
            </a:extLst>
          </p:cNvPr>
          <p:cNvSpPr>
            <a:spLocks noGrp="1"/>
          </p:cNvSpPr>
          <p:nvPr>
            <p:ph type="title" idx="4294967295"/>
          </p:nvPr>
        </p:nvSpPr>
        <p:spPr>
          <a:xfrm>
            <a:off x="439432" y="522539"/>
            <a:ext cx="8532812" cy="5580062"/>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br>
              <a:rPr kumimoji="0" lang="en-US" sz="3200" b="1" i="0" u="none" strike="noStrike" kern="1200" cap="none" spc="0" normalizeH="0" baseline="0" noProof="0" dirty="0">
                <a:ln>
                  <a:noFill/>
                </a:ln>
                <a:solidFill>
                  <a:schemeClr val="tx2"/>
                </a:solidFill>
                <a:effectLst/>
                <a:uLnTx/>
                <a:uFillTx/>
                <a:latin typeface="+mn-lt"/>
                <a:ea typeface="+mn-ea"/>
                <a:cs typeface="+mn-cs"/>
              </a:rPr>
            </a:br>
            <a:br>
              <a:rPr kumimoji="0" lang="en-US" sz="3200" b="1" i="0" u="none" strike="noStrike" kern="1200" cap="none" spc="0" normalizeH="0" baseline="0" noProof="0" dirty="0">
                <a:ln>
                  <a:noFill/>
                </a:ln>
                <a:solidFill>
                  <a:schemeClr val="tx2"/>
                </a:solidFill>
                <a:effectLst/>
                <a:uLnTx/>
                <a:uFillTx/>
                <a:latin typeface="+mn-lt"/>
                <a:ea typeface="+mn-ea"/>
                <a:cs typeface="+mn-cs"/>
              </a:rPr>
            </a:br>
            <a:endParaRPr kumimoji="0" lang="en-US" sz="3200" b="1" i="0" u="none" strike="noStrike" kern="1200" cap="none" spc="0" normalizeH="0" baseline="0" noProof="0" dirty="0">
              <a:ln>
                <a:noFill/>
              </a:ln>
              <a:solidFill>
                <a:schemeClr val="tx2"/>
              </a:solidFill>
              <a:effectLst/>
              <a:uLnTx/>
              <a:uFillTx/>
              <a:latin typeface="+mn-lt"/>
              <a:ea typeface="+mn-ea"/>
              <a:cs typeface="+mn-cs"/>
            </a:endParaRPr>
          </a:p>
        </p:txBody>
      </p:sp>
      <p:sp>
        <p:nvSpPr>
          <p:cNvPr id="20" name="Espace réservé du texte 19">
            <a:extLst>
              <a:ext uri="{FF2B5EF4-FFF2-40B4-BE49-F238E27FC236}">
                <a16:creationId xmlns:a16="http://schemas.microsoft.com/office/drawing/2014/main" id="{392992E9-E001-4536-A27F-C0790377B238}"/>
              </a:ext>
            </a:extLst>
          </p:cNvPr>
          <p:cNvSpPr>
            <a:spLocks noGrp="1"/>
          </p:cNvSpPr>
          <p:nvPr>
            <p:ph type="body" sz="quarter" idx="60"/>
          </p:nvPr>
        </p:nvSpPr>
        <p:spPr>
          <a:xfrm>
            <a:off x="0" y="522514"/>
            <a:ext cx="442913" cy="5580112"/>
          </a:xfrm>
        </p:spPr>
        <p:txBody>
          <a:bodyPr/>
          <a:lstStyle/>
          <a:p>
            <a:endParaRPr lang="fr-FR" dirty="0"/>
          </a:p>
        </p:txBody>
      </p:sp>
      <p:sp>
        <p:nvSpPr>
          <p:cNvPr id="2" name="TextBox 1">
            <a:extLst>
              <a:ext uri="{FF2B5EF4-FFF2-40B4-BE49-F238E27FC236}">
                <a16:creationId xmlns:a16="http://schemas.microsoft.com/office/drawing/2014/main" id="{C7EEF273-F75C-DF33-A771-7B9BDA51F4EB}"/>
              </a:ext>
            </a:extLst>
          </p:cNvPr>
          <p:cNvSpPr txBox="1"/>
          <p:nvPr/>
        </p:nvSpPr>
        <p:spPr>
          <a:xfrm>
            <a:off x="926274" y="1143806"/>
            <a:ext cx="7905999" cy="5001369"/>
          </a:xfrm>
          <a:prstGeom prst="rect">
            <a:avLst/>
          </a:prstGeom>
          <a:noFill/>
        </p:spPr>
        <p:txBody>
          <a:bodyPr wrap="square" rtlCol="0">
            <a:sp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r>
              <a:rPr kumimoji="0" lang="fr-FR" sz="3000" b="1" i="0" u="none" strike="noStrike" kern="1200" cap="none" spc="0" normalizeH="0" baseline="0" noProof="0" dirty="0">
                <a:ln>
                  <a:noFill/>
                </a:ln>
                <a:solidFill>
                  <a:srgbClr val="283897"/>
                </a:solidFill>
                <a:effectLst/>
                <a:uLnTx/>
                <a:uFillTx/>
                <a:latin typeface="Arial" panose="020B0604020202020204"/>
                <a:ea typeface="+mn-ea"/>
                <a:cs typeface="+mn-cs"/>
              </a:rPr>
              <a:t>Agenda</a:t>
            </a:r>
          </a:p>
          <a:p>
            <a:pPr marL="0" marR="0" lvl="2" indent="0" algn="l" defTabSz="914377" rtl="0" eaLnBrk="1" fontAlgn="auto" latinLnBrk="0" hangingPunct="1">
              <a:lnSpc>
                <a:spcPct val="150000"/>
              </a:lnSpc>
              <a:spcBef>
                <a:spcPts val="0"/>
              </a:spcBef>
              <a:spcAft>
                <a:spcPts val="0"/>
              </a:spcAft>
              <a:buClr>
                <a:srgbClr val="283897"/>
              </a:buClr>
              <a:buSzPct val="100000"/>
              <a:buFontTx/>
              <a:buNone/>
              <a:tabLst/>
              <a:defRPr/>
            </a:pPr>
            <a:r>
              <a:rPr kumimoji="0" lang="en-US" sz="1800" b="1" i="0" u="none" strike="noStrike" kern="1200" cap="none" spc="0" normalizeH="0" baseline="0" noProof="0" dirty="0">
                <a:ln>
                  <a:noFill/>
                </a:ln>
                <a:solidFill>
                  <a:srgbClr val="283897"/>
                </a:solidFill>
                <a:effectLst/>
                <a:uLnTx/>
                <a:uFillTx/>
                <a:latin typeface="Arial" panose="020B0604020202020204"/>
                <a:ea typeface="+mn-ea"/>
                <a:cs typeface="+mn-cs"/>
              </a:rPr>
              <a:t>Safety Moment </a:t>
            </a:r>
            <a:r>
              <a:rPr kumimoji="0" lang="en-US" sz="1800" i="1" u="none" strike="noStrike" kern="1200" cap="none" spc="0" normalizeH="0" baseline="0" noProof="0" dirty="0">
                <a:ln>
                  <a:noFill/>
                </a:ln>
                <a:solidFill>
                  <a:srgbClr val="283897"/>
                </a:solidFill>
                <a:effectLst/>
                <a:uLnTx/>
                <a:uFillTx/>
                <a:latin typeface="Arial" panose="020B0604020202020204"/>
                <a:ea typeface="+mn-ea"/>
                <a:cs typeface="+mn-cs"/>
              </a:rPr>
              <a:t>– Jill Helms</a:t>
            </a:r>
          </a:p>
          <a:p>
            <a:pPr marL="0" marR="0" lvl="2" indent="0" algn="l" defTabSz="914377" rtl="0" eaLnBrk="1" fontAlgn="auto" latinLnBrk="0" hangingPunct="1">
              <a:lnSpc>
                <a:spcPct val="150000"/>
              </a:lnSpc>
              <a:spcBef>
                <a:spcPts val="0"/>
              </a:spcBef>
              <a:spcAft>
                <a:spcPts val="0"/>
              </a:spcAft>
              <a:buClr>
                <a:srgbClr val="283897"/>
              </a:buClr>
              <a:buSzPct val="100000"/>
              <a:buFontTx/>
              <a:buNone/>
              <a:tabLst/>
              <a:defRPr/>
            </a:pPr>
            <a:r>
              <a:rPr kumimoji="0" lang="en-US" sz="1800" b="1" i="0" u="none" strike="noStrike" kern="1200" cap="none" spc="0" normalizeH="0" baseline="0" noProof="0" dirty="0">
                <a:ln>
                  <a:noFill/>
                </a:ln>
                <a:solidFill>
                  <a:srgbClr val="283897"/>
                </a:solidFill>
                <a:effectLst/>
                <a:uLnTx/>
                <a:uFillTx/>
                <a:latin typeface="Arial" panose="020B0604020202020204" pitchFamily="34" charset="0"/>
                <a:ea typeface="Times New Roman" panose="02020603050405020304" pitchFamily="18" charset="0"/>
                <a:cs typeface="Arial" panose="020B0604020202020204" pitchFamily="34" charset="0"/>
              </a:rPr>
              <a:t>Q4 Collections </a:t>
            </a:r>
            <a:r>
              <a:rPr kumimoji="0" lang="en-US" sz="1800" i="1" u="none" strike="noStrike" kern="1200" cap="none" spc="0" normalizeH="0" baseline="0" noProof="0" dirty="0">
                <a:ln>
                  <a:noFill/>
                </a:ln>
                <a:solidFill>
                  <a:srgbClr val="283897"/>
                </a:solidFill>
                <a:effectLst/>
                <a:uLnTx/>
                <a:uFillTx/>
                <a:latin typeface="Arial" panose="020B0604020202020204" pitchFamily="34" charset="0"/>
                <a:ea typeface="Times New Roman" panose="02020603050405020304" pitchFamily="18" charset="0"/>
                <a:cs typeface="Arial" panose="020B0604020202020204" pitchFamily="34" charset="0"/>
              </a:rPr>
              <a:t>– Brad Hamman</a:t>
            </a:r>
          </a:p>
          <a:p>
            <a:pPr marL="0" marR="0" lvl="2" indent="0" algn="l" defTabSz="914377" rtl="0" eaLnBrk="1" fontAlgn="auto" latinLnBrk="0" hangingPunct="1">
              <a:spcBef>
                <a:spcPts val="0"/>
              </a:spcBef>
              <a:spcAft>
                <a:spcPts val="0"/>
              </a:spcAft>
              <a:buClr>
                <a:srgbClr val="283897"/>
              </a:buClr>
              <a:buSzPct val="100000"/>
              <a:buFontTx/>
              <a:buNone/>
              <a:tabLst/>
              <a:defRPr/>
            </a:pPr>
            <a:r>
              <a:rPr kumimoji="0" lang="en-US" sz="1800" b="1" i="0" u="none" strike="noStrike" kern="1200" cap="none" spc="0" normalizeH="0" baseline="0" noProof="0" dirty="0">
                <a:ln>
                  <a:noFill/>
                </a:ln>
                <a:solidFill>
                  <a:srgbClr val="283897"/>
                </a:solidFill>
                <a:effectLst/>
                <a:uLnTx/>
                <a:uFillTx/>
                <a:latin typeface="Arial" panose="020B0604020202020204" pitchFamily="34" charset="0"/>
                <a:ea typeface="Times New Roman" panose="02020603050405020304" pitchFamily="18" charset="0"/>
                <a:cs typeface="Arial" panose="020B0604020202020204" pitchFamily="34" charset="0"/>
              </a:rPr>
              <a:t>Internal Control Updates </a:t>
            </a:r>
            <a:r>
              <a:rPr kumimoji="0" lang="en-US" sz="1800" i="1" u="none" strike="noStrike" kern="1200" cap="none" spc="0" normalizeH="0" baseline="0" noProof="0" dirty="0">
                <a:ln>
                  <a:noFill/>
                </a:ln>
                <a:solidFill>
                  <a:srgbClr val="283897"/>
                </a:solidFill>
                <a:effectLst/>
                <a:uLnTx/>
                <a:uFillTx/>
                <a:latin typeface="Arial" panose="020B0604020202020204" pitchFamily="34" charset="0"/>
                <a:ea typeface="Times New Roman" panose="02020603050405020304" pitchFamily="18" charset="0"/>
                <a:cs typeface="Arial" panose="020B0604020202020204" pitchFamily="34" charset="0"/>
              </a:rPr>
              <a:t>–</a:t>
            </a:r>
          </a:p>
          <a:p>
            <a:pPr marL="0" marR="0" lvl="2" indent="0" algn="l" defTabSz="914377" rtl="0" eaLnBrk="1" fontAlgn="auto" latinLnBrk="0" hangingPunct="1">
              <a:spcBef>
                <a:spcPts val="0"/>
              </a:spcBef>
              <a:spcAft>
                <a:spcPts val="0"/>
              </a:spcAft>
              <a:buClr>
                <a:srgbClr val="283897"/>
              </a:buClr>
              <a:buSzPct val="100000"/>
              <a:buFontTx/>
              <a:buNone/>
              <a:tabLst/>
              <a:defRPr/>
            </a:pPr>
            <a:r>
              <a:rPr kumimoji="0" lang="en-US" sz="1800" i="1" u="none" strike="noStrike" kern="1200" cap="none" spc="0" normalizeH="0" baseline="0" noProof="0" dirty="0">
                <a:ln>
                  <a:noFill/>
                </a:ln>
                <a:solidFill>
                  <a:srgbClr val="283897"/>
                </a:solidFill>
                <a:effectLst/>
                <a:uLnTx/>
                <a:uFillTx/>
                <a:latin typeface="Arial" panose="020B0604020202020204" pitchFamily="34" charset="0"/>
                <a:ea typeface="Times New Roman" panose="02020603050405020304" pitchFamily="18" charset="0"/>
                <a:cs typeface="Arial" panose="020B0604020202020204" pitchFamily="34" charset="0"/>
              </a:rPr>
              <a:t>Rubylyn Tantoy, Yvonne Daloise, Chad Mayerhofer</a:t>
            </a:r>
          </a:p>
          <a:p>
            <a:pPr marL="742950" lvl="1" indent="-285750" defTabSz="914377">
              <a:buSzPts val="1000"/>
              <a:buFont typeface="Arial" panose="020B0604020202020204" pitchFamily="34" charset="0"/>
              <a:buChar char="•"/>
              <a:tabLst>
                <a:tab pos="457200" algn="l"/>
              </a:tabLst>
              <a:defRPr/>
            </a:pPr>
            <a:r>
              <a:rPr lang="en-US" dirty="0">
                <a:solidFill>
                  <a:srgbClr val="283897"/>
                </a:solidFill>
                <a:latin typeface="Arial" panose="020B0604020202020204" pitchFamily="34" charset="0"/>
                <a:ea typeface="Times New Roman" panose="02020603050405020304" pitchFamily="18" charset="0"/>
                <a:cs typeface="Arial" panose="020B0604020202020204" pitchFamily="34" charset="0"/>
              </a:rPr>
              <a:t>Inventory Management</a:t>
            </a:r>
            <a:br>
              <a:rPr lang="en-US" dirty="0">
                <a:solidFill>
                  <a:srgbClr val="283897"/>
                </a:solidFill>
                <a:latin typeface="Arial" panose="020B0604020202020204" pitchFamily="34" charset="0"/>
                <a:ea typeface="Times New Roman" panose="02020603050405020304" pitchFamily="18" charset="0"/>
                <a:cs typeface="Arial" panose="020B0604020202020204" pitchFamily="34" charset="0"/>
              </a:rPr>
            </a:br>
            <a:r>
              <a:rPr lang="en-US" dirty="0">
                <a:solidFill>
                  <a:srgbClr val="283897"/>
                </a:solidFill>
                <a:latin typeface="Arial" panose="020B0604020202020204" pitchFamily="34" charset="0"/>
                <a:ea typeface="Times New Roman" panose="02020603050405020304" pitchFamily="18" charset="0"/>
                <a:cs typeface="Arial" panose="020B0604020202020204" pitchFamily="34" charset="0"/>
              </a:rPr>
              <a:t>Year-End Inventory/Cash Audit</a:t>
            </a:r>
            <a:br>
              <a:rPr lang="en-US" dirty="0">
                <a:solidFill>
                  <a:srgbClr val="283897"/>
                </a:solidFill>
                <a:latin typeface="Arial" panose="020B0604020202020204" pitchFamily="34" charset="0"/>
                <a:ea typeface="Times New Roman" panose="02020603050405020304" pitchFamily="18" charset="0"/>
                <a:cs typeface="Arial" panose="020B0604020202020204" pitchFamily="34" charset="0"/>
              </a:rPr>
            </a:br>
            <a:r>
              <a:rPr lang="en-US" dirty="0">
                <a:solidFill>
                  <a:srgbClr val="283897"/>
                </a:solidFill>
                <a:latin typeface="Arial" panose="020B0604020202020204" pitchFamily="34" charset="0"/>
                <a:ea typeface="Times New Roman" panose="02020603050405020304" pitchFamily="18" charset="0"/>
                <a:cs typeface="Arial" panose="020B0604020202020204" pitchFamily="34" charset="0"/>
              </a:rPr>
              <a:t>NorAm Site Audit Program</a:t>
            </a:r>
          </a:p>
          <a:p>
            <a:pPr marL="0" marR="0" lvl="0" indent="0" algn="l" defTabSz="914377" rtl="0" eaLnBrk="1" fontAlgn="auto" latinLnBrk="0" hangingPunct="1">
              <a:lnSpc>
                <a:spcPct val="150000"/>
              </a:lnSpc>
              <a:spcBef>
                <a:spcPts val="0"/>
              </a:spcBef>
              <a:spcAft>
                <a:spcPts val="0"/>
              </a:spcAft>
              <a:buClrTx/>
              <a:buSzPts val="1000"/>
              <a:buFontTx/>
              <a:buNone/>
              <a:tabLst>
                <a:tab pos="457200" algn="l"/>
              </a:tabLst>
              <a:defRPr/>
            </a:pPr>
            <a:r>
              <a:rPr lang="en-US" b="1" dirty="0">
                <a:solidFill>
                  <a:srgbClr val="283897"/>
                </a:solidFill>
                <a:latin typeface="Arial" panose="020B0604020202020204" pitchFamily="34" charset="0"/>
                <a:ea typeface="Times New Roman" panose="02020603050405020304" pitchFamily="18" charset="0"/>
                <a:cs typeface="Arial" panose="020B0604020202020204" pitchFamily="34" charset="0"/>
              </a:rPr>
              <a:t>New Identity Access Management Form (SoUnified) </a:t>
            </a:r>
          </a:p>
          <a:p>
            <a:pPr marL="0" marR="0" lvl="0" indent="0" algn="l" defTabSz="914377" rtl="0" eaLnBrk="1" fontAlgn="auto" latinLnBrk="0" hangingPunct="1">
              <a:lnSpc>
                <a:spcPct val="150000"/>
              </a:lnSpc>
              <a:spcBef>
                <a:spcPts val="0"/>
              </a:spcBef>
              <a:spcAft>
                <a:spcPts val="0"/>
              </a:spcAft>
              <a:buClrTx/>
              <a:buSzPts val="1000"/>
              <a:buFontTx/>
              <a:buNone/>
              <a:tabLst>
                <a:tab pos="457200" algn="l"/>
              </a:tabLst>
              <a:defRPr/>
            </a:pPr>
            <a:r>
              <a:rPr lang="en-US" b="1" dirty="0">
                <a:solidFill>
                  <a:srgbClr val="283897"/>
                </a:solidFill>
                <a:latin typeface="Arial" panose="020B0604020202020204" pitchFamily="34" charset="0"/>
                <a:cs typeface="Arial" panose="020B0604020202020204" pitchFamily="34" charset="0"/>
              </a:rPr>
              <a:t>	*</a:t>
            </a:r>
            <a:r>
              <a:rPr kumimoji="0" lang="en-US" sz="1800" b="1" i="0" u="none" strike="noStrike" kern="1200" cap="none" spc="0" normalizeH="0" baseline="0" noProof="0" dirty="0">
                <a:ln>
                  <a:noFill/>
                </a:ln>
                <a:solidFill>
                  <a:srgbClr val="283897"/>
                </a:solidFill>
                <a:effectLst/>
                <a:uLnTx/>
                <a:uFillTx/>
                <a:latin typeface="Arial" panose="020B0604020202020204"/>
                <a:ea typeface="+mn-ea"/>
                <a:cs typeface="+mn-cs"/>
              </a:rPr>
              <a:t>UFS Update Access </a:t>
            </a:r>
            <a:r>
              <a:rPr kumimoji="0" lang="en-US" sz="1800" i="0" u="none" strike="noStrike" kern="1200" cap="none" spc="0" normalizeH="0" baseline="0" noProof="0" dirty="0">
                <a:ln>
                  <a:noFill/>
                </a:ln>
                <a:solidFill>
                  <a:srgbClr val="283897"/>
                </a:solidFill>
                <a:effectLst/>
                <a:uLnTx/>
                <a:uFillTx/>
                <a:latin typeface="Arial" panose="020B0604020202020204"/>
                <a:ea typeface="+mn-ea"/>
                <a:cs typeface="+mn-cs"/>
              </a:rPr>
              <a:t>– </a:t>
            </a:r>
            <a:r>
              <a:rPr kumimoji="0" lang="en-US" sz="1800" i="1" u="none" strike="noStrike" kern="1200" cap="none" spc="0" normalizeH="0" baseline="0" noProof="0" dirty="0">
                <a:ln>
                  <a:noFill/>
                </a:ln>
                <a:solidFill>
                  <a:srgbClr val="283897"/>
                </a:solidFill>
                <a:effectLst/>
                <a:uLnTx/>
                <a:uFillTx/>
                <a:latin typeface="Arial" panose="020B0604020202020204"/>
                <a:ea typeface="+mn-ea"/>
                <a:cs typeface="+mn-cs"/>
              </a:rPr>
              <a:t>Corinne Szabo, Jill Helms</a:t>
            </a:r>
          </a:p>
          <a:p>
            <a:pPr marL="0" marR="0" lvl="0" indent="0" algn="l" defTabSz="914377" rtl="0" eaLnBrk="1" fontAlgn="auto" latinLnBrk="0" hangingPunct="1">
              <a:lnSpc>
                <a:spcPct val="150000"/>
              </a:lnSpc>
              <a:spcBef>
                <a:spcPts val="0"/>
              </a:spcBef>
              <a:spcAft>
                <a:spcPts val="0"/>
              </a:spcAft>
              <a:buClrTx/>
              <a:buSzPts val="1000"/>
              <a:buFontTx/>
              <a:buNone/>
              <a:tabLst>
                <a:tab pos="457200" algn="l"/>
              </a:tabLst>
              <a:defRPr/>
            </a:pPr>
            <a:r>
              <a:rPr lang="en-US" b="1" dirty="0">
                <a:solidFill>
                  <a:srgbClr val="283897"/>
                </a:solidFill>
                <a:latin typeface="Arial" panose="020B0604020202020204"/>
              </a:rPr>
              <a:t>Stars of Finance Reminder</a:t>
            </a:r>
            <a:endParaRPr kumimoji="0" lang="en-US" sz="1800" b="1" u="none" strike="noStrike" kern="1200" cap="none" spc="0" normalizeH="0" baseline="0" noProof="0" dirty="0">
              <a:ln>
                <a:noFill/>
              </a:ln>
              <a:solidFill>
                <a:srgbClr val="283897"/>
              </a:solidFill>
              <a:effectLst/>
              <a:uLnTx/>
              <a:uFillTx/>
              <a:latin typeface="Arial" panose="020B0604020202020204"/>
              <a:ea typeface="+mn-ea"/>
              <a:cs typeface="+mn-cs"/>
            </a:endParaRPr>
          </a:p>
          <a:p>
            <a:pPr marL="0" marR="0" lvl="2" indent="0" algn="l" defTabSz="914377" rtl="0" eaLnBrk="1" fontAlgn="auto" latinLnBrk="0" hangingPunct="1">
              <a:lnSpc>
                <a:spcPct val="150000"/>
              </a:lnSpc>
              <a:spcBef>
                <a:spcPts val="0"/>
              </a:spcBef>
              <a:spcAft>
                <a:spcPts val="0"/>
              </a:spcAft>
              <a:buClr>
                <a:srgbClr val="283897"/>
              </a:buClr>
              <a:buSzPct val="100000"/>
              <a:buFontTx/>
              <a:buNone/>
              <a:tabLst/>
              <a:defRPr/>
            </a:pPr>
            <a:r>
              <a:rPr kumimoji="0" lang="en-US" sz="1800" b="1" i="0" u="none" strike="noStrike" kern="1200" cap="none" spc="0" normalizeH="0" baseline="0" noProof="0" dirty="0">
                <a:ln>
                  <a:noFill/>
                </a:ln>
                <a:solidFill>
                  <a:srgbClr val="283897"/>
                </a:solidFill>
                <a:effectLst/>
                <a:uLnTx/>
                <a:uFillTx/>
                <a:latin typeface="Arial" panose="020B0604020202020204"/>
                <a:ea typeface="+mn-ea"/>
                <a:cs typeface="+mn-cs"/>
              </a:rPr>
              <a:t>Q&amp;A</a:t>
            </a:r>
          </a:p>
          <a:p>
            <a:endParaRPr lang="en-US" dirty="0"/>
          </a:p>
        </p:txBody>
      </p:sp>
      <p:sp>
        <p:nvSpPr>
          <p:cNvPr id="4" name="Footer Placeholder 3">
            <a:extLst>
              <a:ext uri="{FF2B5EF4-FFF2-40B4-BE49-F238E27FC236}">
                <a16:creationId xmlns:a16="http://schemas.microsoft.com/office/drawing/2014/main" id="{2B80186D-FC5F-588A-5332-875D2CCD0862}"/>
              </a:ext>
            </a:extLst>
          </p:cNvPr>
          <p:cNvSpPr>
            <a:spLocks noGrp="1"/>
          </p:cNvSpPr>
          <p:nvPr>
            <p:ph type="ftr" sz="quarter" idx="67"/>
          </p:nvPr>
        </p:nvSpPr>
        <p:spPr/>
        <p:txBody>
          <a:bodyPr/>
          <a:lstStyle/>
          <a:p>
            <a:r>
              <a:rPr lang="en-US"/>
              <a:t>Unit Controller Call Series © Sodexo, July 2024.  All rights Reserved</a:t>
            </a:r>
            <a:endParaRPr lang="fr-FR" dirty="0"/>
          </a:p>
        </p:txBody>
      </p:sp>
    </p:spTree>
    <p:extLst>
      <p:ext uri="{BB962C8B-B14F-4D97-AF65-F5344CB8AC3E}">
        <p14:creationId xmlns:p14="http://schemas.microsoft.com/office/powerpoint/2010/main" val="181978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09E1D-6BB0-C773-22B6-00F2D5AEF55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CE9560A-98D5-9EEA-8F55-AF63A16540C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3"/>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2800" dirty="0">
                <a:latin typeface="+mn-lt"/>
                <a:ea typeface="+mn-ea"/>
                <a:cs typeface="+mn-cs"/>
              </a:rPr>
              <a:t>EY Year-End Inventory / Cash Audit</a:t>
            </a:r>
            <a:endParaRPr kumimoji="0" lang="en-US" sz="32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Footer Placeholder 3">
            <a:extLst>
              <a:ext uri="{FF2B5EF4-FFF2-40B4-BE49-F238E27FC236}">
                <a16:creationId xmlns:a16="http://schemas.microsoft.com/office/drawing/2014/main" id="{7BB674C4-C1D4-E705-70B3-2B4D76947EFF}"/>
              </a:ext>
            </a:extLst>
          </p:cNvPr>
          <p:cNvSpPr>
            <a:spLocks noGrp="1"/>
          </p:cNvSpPr>
          <p:nvPr>
            <p:ph type="ftr" sz="quarter" idx="6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9019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a:extLst>
              <a:ext uri="{FF2B5EF4-FFF2-40B4-BE49-F238E27FC236}">
                <a16:creationId xmlns:a16="http://schemas.microsoft.com/office/drawing/2014/main" id="{A0E7376C-583B-A632-A16B-50D34F88754B}"/>
              </a:ext>
            </a:extLst>
          </p:cNvPr>
          <p:cNvCxnSpPr>
            <a:cxnSpLocks/>
          </p:cNvCxnSpPr>
          <p:nvPr/>
        </p:nvCxnSpPr>
        <p:spPr>
          <a:xfrm>
            <a:off x="3911374" y="5044138"/>
            <a:ext cx="112905" cy="14932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1C54F243-6B27-C2BB-9408-C860534628F7}"/>
              </a:ext>
            </a:extLst>
          </p:cNvPr>
          <p:cNvCxnSpPr>
            <a:cxnSpLocks/>
          </p:cNvCxnSpPr>
          <p:nvPr/>
        </p:nvCxnSpPr>
        <p:spPr>
          <a:xfrm flipH="1">
            <a:off x="2110931" y="5040110"/>
            <a:ext cx="152925" cy="187672"/>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35FFED5A-E74A-6916-5417-D0779636B70C}"/>
              </a:ext>
            </a:extLst>
          </p:cNvPr>
          <p:cNvCxnSpPr>
            <a:cxnSpLocks/>
          </p:cNvCxnSpPr>
          <p:nvPr/>
        </p:nvCxnSpPr>
        <p:spPr>
          <a:xfrm flipH="1" flipV="1">
            <a:off x="1998026" y="3264159"/>
            <a:ext cx="112905" cy="173646"/>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34C1B037-EAAF-0391-1AD9-35D042E567CD}"/>
              </a:ext>
            </a:extLst>
          </p:cNvPr>
          <p:cNvCxnSpPr>
            <a:cxnSpLocks/>
          </p:cNvCxnSpPr>
          <p:nvPr/>
        </p:nvCxnSpPr>
        <p:spPr>
          <a:xfrm flipV="1">
            <a:off x="3996571" y="3306468"/>
            <a:ext cx="139263" cy="200941"/>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Summary</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Year-end Inventory / Cash Audit</a:t>
            </a:r>
          </a:p>
        </p:txBody>
      </p:sp>
      <p:sp>
        <p:nvSpPr>
          <p:cNvPr id="3" name="TextBox 2">
            <a:extLst>
              <a:ext uri="{FF2B5EF4-FFF2-40B4-BE49-F238E27FC236}">
                <a16:creationId xmlns:a16="http://schemas.microsoft.com/office/drawing/2014/main" id="{DDC22EE1-788C-1FE9-813D-C9E0D7FCC457}"/>
              </a:ext>
            </a:extLst>
          </p:cNvPr>
          <p:cNvSpPr txBox="1"/>
          <p:nvPr/>
        </p:nvSpPr>
        <p:spPr>
          <a:xfrm>
            <a:off x="572654" y="1375600"/>
            <a:ext cx="10187495" cy="461665"/>
          </a:xfrm>
          <a:prstGeom prst="rect">
            <a:avLst/>
          </a:prstGeom>
          <a:noFill/>
          <a:ln>
            <a:solidFill>
              <a:srgbClr val="25359C"/>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5359C"/>
                </a:solidFill>
                <a:effectLst/>
                <a:uLnTx/>
                <a:uFillTx/>
                <a:latin typeface="Arial" panose="020B0604020202020204"/>
                <a:ea typeface="+mn-ea"/>
                <a:cs typeface="+mn-cs"/>
              </a:rPr>
              <a:t>Ernst and Young will conduct an inventory / cash audit for period 12</a:t>
            </a:r>
          </a:p>
        </p:txBody>
      </p:sp>
      <p:grpSp>
        <p:nvGrpSpPr>
          <p:cNvPr id="13" name="Group 12">
            <a:extLst>
              <a:ext uri="{FF2B5EF4-FFF2-40B4-BE49-F238E27FC236}">
                <a16:creationId xmlns:a16="http://schemas.microsoft.com/office/drawing/2014/main" id="{A7C80E65-A5E6-371E-DAC6-5276B9E760A0}"/>
              </a:ext>
            </a:extLst>
          </p:cNvPr>
          <p:cNvGrpSpPr/>
          <p:nvPr/>
        </p:nvGrpSpPr>
        <p:grpSpPr>
          <a:xfrm>
            <a:off x="1751250" y="3048943"/>
            <a:ext cx="2645260" cy="2339976"/>
            <a:chOff x="1353832" y="2177693"/>
            <a:chExt cx="1524000" cy="1251308"/>
          </a:xfrm>
        </p:grpSpPr>
        <p:sp>
          <p:nvSpPr>
            <p:cNvPr id="10" name="Flowchart: Connector 9">
              <a:extLst>
                <a:ext uri="{FF2B5EF4-FFF2-40B4-BE49-F238E27FC236}">
                  <a16:creationId xmlns:a16="http://schemas.microsoft.com/office/drawing/2014/main" id="{386E72DF-90E3-687E-0C6C-E5DF0E64010B}"/>
                </a:ext>
              </a:extLst>
            </p:cNvPr>
            <p:cNvSpPr/>
            <p:nvPr/>
          </p:nvSpPr>
          <p:spPr>
            <a:xfrm>
              <a:off x="1353832" y="2177693"/>
              <a:ext cx="1524000" cy="1251308"/>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D340C50B-1216-9B08-BD63-EC22FDE3D1FC}"/>
                </a:ext>
              </a:extLst>
            </p:cNvPr>
            <p:cNvSpPr txBox="1"/>
            <p:nvPr/>
          </p:nvSpPr>
          <p:spPr>
            <a:xfrm>
              <a:off x="1376446" y="2523283"/>
              <a:ext cx="1370895" cy="509501"/>
            </a:xfrm>
            <a:prstGeom prst="rect">
              <a:avLst/>
            </a:prstGeom>
            <a:noFill/>
          </p:spPr>
          <p:txBody>
            <a:bodyPr wrap="square">
              <a:spAutoFit/>
            </a:bodyPr>
            <a:lstStyle/>
            <a:p>
              <a:pPr marL="119063" marR="0" lvl="1" indent="0" algn="ctr" defTabSz="609585"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On-site and Desk audits</a:t>
              </a:r>
            </a:p>
          </p:txBody>
        </p:sp>
      </p:grpSp>
      <p:grpSp>
        <p:nvGrpSpPr>
          <p:cNvPr id="27" name="Group 26">
            <a:extLst>
              <a:ext uri="{FF2B5EF4-FFF2-40B4-BE49-F238E27FC236}">
                <a16:creationId xmlns:a16="http://schemas.microsoft.com/office/drawing/2014/main" id="{89B68D55-BA64-8581-86DD-763F6D5E1481}"/>
              </a:ext>
            </a:extLst>
          </p:cNvPr>
          <p:cNvGrpSpPr/>
          <p:nvPr/>
        </p:nvGrpSpPr>
        <p:grpSpPr>
          <a:xfrm>
            <a:off x="520950" y="1957819"/>
            <a:ext cx="1829504" cy="1585037"/>
            <a:chOff x="88541" y="2569634"/>
            <a:chExt cx="1848572" cy="1614162"/>
          </a:xfrm>
        </p:grpSpPr>
        <p:sp>
          <p:nvSpPr>
            <p:cNvPr id="26" name="Flowchart: Connector 25">
              <a:extLst>
                <a:ext uri="{FF2B5EF4-FFF2-40B4-BE49-F238E27FC236}">
                  <a16:creationId xmlns:a16="http://schemas.microsoft.com/office/drawing/2014/main" id="{00F57AC5-62E6-155D-3965-0EE4F7DF40A8}"/>
                </a:ext>
              </a:extLst>
            </p:cNvPr>
            <p:cNvSpPr/>
            <p:nvPr/>
          </p:nvSpPr>
          <p:spPr>
            <a:xfrm>
              <a:off x="153789" y="2569634"/>
              <a:ext cx="1783324" cy="161416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8C845DE-61D8-E30E-8B16-92D57BD68319}"/>
                </a:ext>
              </a:extLst>
            </p:cNvPr>
            <p:cNvSpPr txBox="1"/>
            <p:nvPr/>
          </p:nvSpPr>
          <p:spPr>
            <a:xfrm>
              <a:off x="88541" y="3179041"/>
              <a:ext cx="1721911" cy="376118"/>
            </a:xfrm>
            <a:prstGeom prst="rect">
              <a:avLst/>
            </a:prstGeom>
            <a:noFill/>
          </p:spPr>
          <p:txBody>
            <a:bodyPr wrap="square">
              <a:spAutoFit/>
            </a:bodyPr>
            <a:lstStyle/>
            <a:p>
              <a:pPr marL="119063" marR="0" lvl="1" indent="0" algn="ctr" defTabSz="609585" rtl="0" eaLnBrk="1" fontAlgn="auto" latinLnBrk="0" hangingPunct="1">
                <a:lnSpc>
                  <a:spcPct val="100000"/>
                </a:lnSpc>
                <a:spcBef>
                  <a:spcPts val="0"/>
                </a:spcBef>
                <a:spcAft>
                  <a:spcPts val="0"/>
                </a:spcAft>
                <a:buClrTx/>
                <a:buSzTx/>
                <a:buFontTx/>
                <a:buNone/>
                <a:tabLst>
                  <a:tab pos="573088" algn="l"/>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20 units</a:t>
              </a:r>
            </a:p>
          </p:txBody>
        </p:sp>
      </p:grpSp>
      <p:grpSp>
        <p:nvGrpSpPr>
          <p:cNvPr id="18" name="Group 17">
            <a:extLst>
              <a:ext uri="{FF2B5EF4-FFF2-40B4-BE49-F238E27FC236}">
                <a16:creationId xmlns:a16="http://schemas.microsoft.com/office/drawing/2014/main" id="{96072250-AFB4-3CB5-0692-92E2331C4958}"/>
              </a:ext>
            </a:extLst>
          </p:cNvPr>
          <p:cNvGrpSpPr/>
          <p:nvPr/>
        </p:nvGrpSpPr>
        <p:grpSpPr>
          <a:xfrm>
            <a:off x="511714" y="4857940"/>
            <a:ext cx="1783324" cy="1614162"/>
            <a:chOff x="2458881" y="4047322"/>
            <a:chExt cx="1531934" cy="1251308"/>
          </a:xfrm>
        </p:grpSpPr>
        <p:sp>
          <p:nvSpPr>
            <p:cNvPr id="14" name="Flowchart: Connector 13">
              <a:extLst>
                <a:ext uri="{FF2B5EF4-FFF2-40B4-BE49-F238E27FC236}">
                  <a16:creationId xmlns:a16="http://schemas.microsoft.com/office/drawing/2014/main" id="{278071D4-8027-6E5F-0A81-15BDD02970C3}"/>
                </a:ext>
              </a:extLst>
            </p:cNvPr>
            <p:cNvSpPr/>
            <p:nvPr/>
          </p:nvSpPr>
          <p:spPr>
            <a:xfrm>
              <a:off x="2466815" y="4047322"/>
              <a:ext cx="1524000" cy="1251308"/>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1A27EA13-5D3C-50C6-B7FF-9321B7AA8FDE}"/>
                </a:ext>
              </a:extLst>
            </p:cNvPr>
            <p:cNvSpPr txBox="1"/>
            <p:nvPr/>
          </p:nvSpPr>
          <p:spPr>
            <a:xfrm>
              <a:off x="2458881" y="4280662"/>
              <a:ext cx="1440169" cy="773139"/>
            </a:xfrm>
            <a:prstGeom prst="rect">
              <a:avLst/>
            </a:prstGeom>
            <a:noFill/>
          </p:spPr>
          <p:txBody>
            <a:bodyPr wrap="square">
              <a:spAutoFit/>
            </a:bodyPr>
            <a:lstStyle/>
            <a:p>
              <a:pPr marL="119063" marR="0" lvl="1"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On-site August 30th or 31st</a:t>
              </a:r>
            </a:p>
          </p:txBody>
        </p:sp>
      </p:grpSp>
      <p:grpSp>
        <p:nvGrpSpPr>
          <p:cNvPr id="19" name="Group 18">
            <a:extLst>
              <a:ext uri="{FF2B5EF4-FFF2-40B4-BE49-F238E27FC236}">
                <a16:creationId xmlns:a16="http://schemas.microsoft.com/office/drawing/2014/main" id="{4B60E71E-FEE3-DEBD-5506-D6F57D3BB983}"/>
              </a:ext>
            </a:extLst>
          </p:cNvPr>
          <p:cNvGrpSpPr/>
          <p:nvPr/>
        </p:nvGrpSpPr>
        <p:grpSpPr>
          <a:xfrm>
            <a:off x="3831489" y="1947167"/>
            <a:ext cx="1774088" cy="1614162"/>
            <a:chOff x="7479499" y="4065903"/>
            <a:chExt cx="1570180" cy="1251308"/>
          </a:xfrm>
        </p:grpSpPr>
        <p:sp>
          <p:nvSpPr>
            <p:cNvPr id="16" name="Flowchart: Connector 15">
              <a:extLst>
                <a:ext uri="{FF2B5EF4-FFF2-40B4-BE49-F238E27FC236}">
                  <a16:creationId xmlns:a16="http://schemas.microsoft.com/office/drawing/2014/main" id="{FFD90900-E8AB-5284-6D91-57C299232701}"/>
                </a:ext>
              </a:extLst>
            </p:cNvPr>
            <p:cNvSpPr/>
            <p:nvPr/>
          </p:nvSpPr>
          <p:spPr>
            <a:xfrm>
              <a:off x="7525679" y="4065903"/>
              <a:ext cx="1524000" cy="1251308"/>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B2C167D2-D4EF-C0E9-893F-CEA0706DE256}"/>
                </a:ext>
              </a:extLst>
            </p:cNvPr>
            <p:cNvSpPr txBox="1"/>
            <p:nvPr/>
          </p:nvSpPr>
          <p:spPr>
            <a:xfrm>
              <a:off x="7479499" y="4309192"/>
              <a:ext cx="1524000" cy="715771"/>
            </a:xfrm>
            <a:prstGeom prst="rect">
              <a:avLst/>
            </a:prstGeom>
            <a:noFill/>
          </p:spPr>
          <p:txBody>
            <a:bodyPr wrap="square">
              <a:spAutoFit/>
            </a:bodyPr>
            <a:lstStyle/>
            <a:p>
              <a:pPr marL="119063" marR="0" lvl="1" indent="0" algn="ctr" defTabSz="609585" rtl="0" eaLnBrk="1" fontAlgn="auto" latinLnBrk="0" hangingPunct="1">
                <a:lnSpc>
                  <a:spcPct val="100000"/>
                </a:lnSpc>
                <a:spcBef>
                  <a:spcPts val="0"/>
                </a:spcBef>
                <a:spcAft>
                  <a:spcPts val="0"/>
                </a:spcAft>
                <a:buClrTx/>
                <a:buSzTx/>
                <a:buFontTx/>
                <a:buNone/>
                <a:tabLst>
                  <a:tab pos="573088" algn="l"/>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Initial list received but can change</a:t>
              </a:r>
            </a:p>
          </p:txBody>
        </p:sp>
      </p:grpSp>
      <p:grpSp>
        <p:nvGrpSpPr>
          <p:cNvPr id="22" name="Group 21">
            <a:extLst>
              <a:ext uri="{FF2B5EF4-FFF2-40B4-BE49-F238E27FC236}">
                <a16:creationId xmlns:a16="http://schemas.microsoft.com/office/drawing/2014/main" id="{0CC5610B-297A-B96B-CD1B-6B554ABEAAC9}"/>
              </a:ext>
            </a:extLst>
          </p:cNvPr>
          <p:cNvGrpSpPr/>
          <p:nvPr/>
        </p:nvGrpSpPr>
        <p:grpSpPr>
          <a:xfrm>
            <a:off x="3831489" y="4875242"/>
            <a:ext cx="1774088" cy="1635054"/>
            <a:chOff x="2982145" y="4068901"/>
            <a:chExt cx="1774088" cy="1635054"/>
          </a:xfrm>
        </p:grpSpPr>
        <p:sp>
          <p:nvSpPr>
            <p:cNvPr id="20" name="Flowchart: Connector 19">
              <a:extLst>
                <a:ext uri="{FF2B5EF4-FFF2-40B4-BE49-F238E27FC236}">
                  <a16:creationId xmlns:a16="http://schemas.microsoft.com/office/drawing/2014/main" id="{92ED8B0E-9A0B-5F26-5865-0720D52E085F}"/>
                </a:ext>
              </a:extLst>
            </p:cNvPr>
            <p:cNvSpPr/>
            <p:nvPr/>
          </p:nvSpPr>
          <p:spPr>
            <a:xfrm>
              <a:off x="2982145" y="4068901"/>
              <a:ext cx="1774088" cy="161416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D113C747-721A-43A9-022B-FFBFF48828D2}"/>
                </a:ext>
              </a:extLst>
            </p:cNvPr>
            <p:cNvSpPr txBox="1"/>
            <p:nvPr/>
          </p:nvSpPr>
          <p:spPr>
            <a:xfrm>
              <a:off x="2982145" y="4226627"/>
              <a:ext cx="1676500" cy="1477328"/>
            </a:xfrm>
            <a:prstGeom prst="rect">
              <a:avLst/>
            </a:prstGeom>
            <a:noFill/>
          </p:spPr>
          <p:txBody>
            <a:bodyPr wrap="square">
              <a:spAutoFit/>
            </a:bodyPr>
            <a:lstStyle/>
            <a:p>
              <a:pPr marL="119063" marR="0" lvl="1"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Document review August 31</a:t>
              </a:r>
              <a:r>
                <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rPr>
                <a:t>st</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 September 30</a:t>
              </a:r>
              <a:r>
                <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rPr>
                <a:t>th</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grpSp>
      <p:grpSp>
        <p:nvGrpSpPr>
          <p:cNvPr id="28" name="Group 27">
            <a:extLst>
              <a:ext uri="{FF2B5EF4-FFF2-40B4-BE49-F238E27FC236}">
                <a16:creationId xmlns:a16="http://schemas.microsoft.com/office/drawing/2014/main" id="{DDC7D78E-C94A-0E5E-2B41-A493E503B568}"/>
              </a:ext>
            </a:extLst>
          </p:cNvPr>
          <p:cNvGrpSpPr/>
          <p:nvPr/>
        </p:nvGrpSpPr>
        <p:grpSpPr>
          <a:xfrm>
            <a:off x="7648338" y="2304602"/>
            <a:ext cx="2911014" cy="2541466"/>
            <a:chOff x="1353832" y="2177693"/>
            <a:chExt cx="1524000" cy="1251308"/>
          </a:xfrm>
        </p:grpSpPr>
        <p:sp>
          <p:nvSpPr>
            <p:cNvPr id="29" name="Flowchart: Connector 28">
              <a:extLst>
                <a:ext uri="{FF2B5EF4-FFF2-40B4-BE49-F238E27FC236}">
                  <a16:creationId xmlns:a16="http://schemas.microsoft.com/office/drawing/2014/main" id="{AFC947D7-EA71-9E0A-C163-65BF929B22E6}"/>
                </a:ext>
              </a:extLst>
            </p:cNvPr>
            <p:cNvSpPr/>
            <p:nvPr/>
          </p:nvSpPr>
          <p:spPr>
            <a:xfrm>
              <a:off x="1353832" y="2177693"/>
              <a:ext cx="1524000" cy="1251308"/>
            </a:xfrm>
            <a:prstGeom prst="flowChartConnector">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4FA43082-5076-D37A-B9EE-5F0495D09C40}"/>
                </a:ext>
              </a:extLst>
            </p:cNvPr>
            <p:cNvSpPr txBox="1"/>
            <p:nvPr/>
          </p:nvSpPr>
          <p:spPr>
            <a:xfrm>
              <a:off x="1368748" y="2392306"/>
              <a:ext cx="1455485" cy="852389"/>
            </a:xfrm>
            <a:prstGeom prst="rect">
              <a:avLst/>
            </a:prstGeom>
            <a:noFill/>
          </p:spPr>
          <p:txBody>
            <a:bodyPr wrap="square">
              <a:spAutoFit/>
            </a:bodyPr>
            <a:lstStyle/>
            <a:p>
              <a:pPr marL="119063" marR="0" lvl="1" indent="0" algn="ctr" defTabSz="609585" rtl="0" eaLnBrk="1" fontAlgn="auto" latinLnBrk="0" hangingPunct="1">
                <a:lnSpc>
                  <a:spcPct val="100000"/>
                </a:lnSpc>
                <a:spcBef>
                  <a:spcPts val="0"/>
                </a:spcBef>
                <a:spcAft>
                  <a:spcPts val="0"/>
                </a:spcAft>
                <a:buClrTx/>
                <a:buSzTx/>
                <a:buFontTx/>
                <a:buNone/>
                <a:tabLst>
                  <a:tab pos="573088" algn="l"/>
                </a:tabLst>
                <a:defRPr/>
              </a:pPr>
              <a:r>
                <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Year-End Audit Command Center</a:t>
              </a:r>
              <a:r>
                <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rPr>
                <a:t>  </a:t>
              </a:r>
            </a:p>
            <a:p>
              <a:pPr marL="119063" marR="0" lvl="1" indent="0" algn="ctr" defTabSz="609585" rtl="0" eaLnBrk="1" fontAlgn="auto" latinLnBrk="0" hangingPunct="1">
                <a:lnSpc>
                  <a:spcPct val="100000"/>
                </a:lnSpc>
                <a:spcBef>
                  <a:spcPts val="0"/>
                </a:spcBef>
                <a:spcAft>
                  <a:spcPts val="0"/>
                </a:spcAft>
                <a:buClrTx/>
                <a:buSzTx/>
                <a:buFontTx/>
                <a:buNone/>
                <a:tabLst>
                  <a:tab pos="573088" algn="l"/>
                </a:tabLst>
                <a:defRPr/>
              </a:pPr>
              <a:endParaRPr kumimoji="0" lang="en-US" sz="105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119063" marR="0" lvl="1" indent="0" algn="ctr" defTabSz="609585" rtl="0" eaLnBrk="1" fontAlgn="auto" latinLnBrk="0" hangingPunct="1">
                <a:lnSpc>
                  <a:spcPct val="100000"/>
                </a:lnSpc>
                <a:spcBef>
                  <a:spcPts val="0"/>
                </a:spcBef>
                <a:spcAft>
                  <a:spcPts val="0"/>
                </a:spcAft>
                <a:buClrTx/>
                <a:buSzTx/>
                <a:buFontTx/>
                <a:buNone/>
                <a:tabLst>
                  <a:tab pos="573088" algn="l"/>
                </a:tabLst>
                <a:defRPr/>
              </a:pPr>
              <a:r>
                <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rPr>
                <a:t>716-428-8008</a:t>
              </a:r>
            </a:p>
          </p:txBody>
        </p:sp>
      </p:grpSp>
      <p:sp>
        <p:nvSpPr>
          <p:cNvPr id="32" name="TextBox 31">
            <a:extLst>
              <a:ext uri="{FF2B5EF4-FFF2-40B4-BE49-F238E27FC236}">
                <a16:creationId xmlns:a16="http://schemas.microsoft.com/office/drawing/2014/main" id="{CE2BF69A-2958-9ECB-7E47-542C4FE11F0A}"/>
              </a:ext>
            </a:extLst>
          </p:cNvPr>
          <p:cNvSpPr txBox="1"/>
          <p:nvPr/>
        </p:nvSpPr>
        <p:spPr>
          <a:xfrm>
            <a:off x="6765491" y="4846068"/>
            <a:ext cx="4450500" cy="869469"/>
          </a:xfrm>
          <a:prstGeom prst="rect">
            <a:avLst/>
          </a:prstGeom>
          <a:noFill/>
        </p:spPr>
        <p:txBody>
          <a:bodyPr wrap="square">
            <a:spAutoFit/>
          </a:bodyPr>
          <a:lstStyle/>
          <a:p>
            <a:pPr marL="341313" marR="0" lvl="0" indent="-230188" algn="just" defTabSz="609585" rtl="0" eaLnBrk="1" fontAlgn="auto" latinLnBrk="0" hangingPunct="1">
              <a:lnSpc>
                <a:spcPct val="100000"/>
              </a:lnSpc>
              <a:spcBef>
                <a:spcPts val="300"/>
              </a:spcBef>
              <a:spcAft>
                <a:spcPts val="0"/>
              </a:spcAft>
              <a:buClr>
                <a:srgbClr val="25359C"/>
              </a:buClr>
              <a:buSzTx/>
              <a:buFont typeface="Symbol" panose="05050102010706020507" pitchFamily="18" charset="2"/>
              <a:buChar char=""/>
              <a:tabLst/>
              <a:defRPr/>
            </a:pPr>
            <a:r>
              <a:rPr kumimoji="0" lang="en-US" sz="1200" b="0" i="0" u="none" strike="noStrike" kern="1200" cap="none" spc="0" normalizeH="0" baseline="0" noProof="0" dirty="0">
                <a:ln>
                  <a:noFill/>
                </a:ln>
                <a:solidFill>
                  <a:srgbClr val="2A295C"/>
                </a:solidFill>
                <a:effectLst/>
                <a:uLnTx/>
                <a:uFillTx/>
                <a:latin typeface="Arial" panose="020B0604020202020204" pitchFamily="34" charset="0"/>
                <a:ea typeface="+mn-ea"/>
                <a:cs typeface="Times New Roman" panose="02020603050405020304" pitchFamily="18" charset="0"/>
              </a:rPr>
              <a:t>A support resource to define/defend and to answer questions prior, during and after the on-site and desk audits</a:t>
            </a:r>
          </a:p>
          <a:p>
            <a:pPr marL="341313" marR="0" lvl="0" indent="-230188" algn="just" defTabSz="609585" rtl="0" eaLnBrk="1" fontAlgn="auto" latinLnBrk="0" hangingPunct="1">
              <a:lnSpc>
                <a:spcPct val="100000"/>
              </a:lnSpc>
              <a:spcBef>
                <a:spcPts val="300"/>
              </a:spcBef>
              <a:spcAft>
                <a:spcPts val="0"/>
              </a:spcAft>
              <a:buClr>
                <a:srgbClr val="25359C"/>
              </a:buClr>
              <a:buSzTx/>
              <a:buFont typeface="Symbol" panose="05050102010706020507" pitchFamily="18" charset="2"/>
              <a:buChar char=""/>
              <a:tabLst/>
              <a:defRPr/>
            </a:pPr>
            <a:r>
              <a:rPr kumimoji="0" lang="en-US" sz="1200" b="0" i="0" u="none" strike="noStrike" kern="1200" cap="none" spc="0" normalizeH="0" baseline="0" noProof="0" dirty="0">
                <a:ln>
                  <a:noFill/>
                </a:ln>
                <a:solidFill>
                  <a:srgbClr val="2A295C"/>
                </a:solidFill>
                <a:effectLst/>
                <a:uLnTx/>
                <a:uFillTx/>
                <a:latin typeface="Arial" panose="020B0604020202020204" pitchFamily="34" charset="0"/>
                <a:ea typeface="Arial" panose="020B0604020202020204" pitchFamily="34" charset="0"/>
                <a:cs typeface="Times New Roman" panose="02020603050405020304" pitchFamily="18" charset="0"/>
              </a:rPr>
              <a:t>Available</a:t>
            </a:r>
            <a:r>
              <a:rPr kumimoji="0" lang="en-US" sz="1200" b="1" i="0" u="none" strike="noStrike" kern="1200" cap="none" spc="0" normalizeH="0" baseline="0" noProof="0" dirty="0">
                <a:ln>
                  <a:noFill/>
                </a:ln>
                <a:solidFill>
                  <a:srgbClr val="2A295C"/>
                </a:solidFill>
                <a:effectLst/>
                <a:uLnTx/>
                <a:uFillTx/>
                <a:latin typeface="Arial" panose="020B0604020202020204" pitchFamily="34" charset="0"/>
                <a:ea typeface="Arial" panose="020B0604020202020204" pitchFamily="34" charset="0"/>
                <a:cs typeface="Times New Roman" panose="02020603050405020304" pitchFamily="18" charset="0"/>
              </a:rPr>
              <a:t> Tuesday, August 27th – Friday, September 6</a:t>
            </a:r>
            <a:r>
              <a:rPr kumimoji="0" lang="en-US" sz="1200" b="1" i="0" u="none" strike="noStrike" kern="1200" cap="none" spc="0" normalizeH="0" baseline="30000" noProof="0" dirty="0">
                <a:ln>
                  <a:noFill/>
                </a:ln>
                <a:solidFill>
                  <a:srgbClr val="2A295C"/>
                </a:solidFill>
                <a:effectLst/>
                <a:uLnTx/>
                <a:uFillTx/>
                <a:latin typeface="Arial" panose="020B0604020202020204" pitchFamily="34" charset="0"/>
                <a:ea typeface="Arial" panose="020B0604020202020204" pitchFamily="34" charset="0"/>
                <a:cs typeface="Times New Roman" panose="02020603050405020304" pitchFamily="18" charset="0"/>
              </a:rPr>
              <a:t>th</a:t>
            </a:r>
            <a:r>
              <a:rPr kumimoji="0" lang="en-US" sz="1200" b="1" i="0" u="none" strike="noStrike" kern="1200" cap="none" spc="0" normalizeH="0" baseline="0" noProof="0" dirty="0">
                <a:ln>
                  <a:noFill/>
                </a:ln>
                <a:solidFill>
                  <a:srgbClr val="2A295C"/>
                </a:solidFill>
                <a:effectLst/>
                <a:uLnTx/>
                <a:uFillTx/>
                <a:latin typeface="Arial" panose="020B0604020202020204" pitchFamily="34" charset="0"/>
                <a:ea typeface="Arial" panose="020B0604020202020204" pitchFamily="34" charset="0"/>
                <a:cs typeface="Times New Roman" panose="02020603050405020304" pitchFamily="18" charset="0"/>
              </a:rPr>
              <a:t> </a:t>
            </a:r>
            <a:endParaRPr kumimoji="0" lang="en-US" sz="1200" b="0" i="0" u="none" strike="noStrike" kern="1200" cap="none" spc="0" normalizeH="0" baseline="0" noProof="0" dirty="0">
              <a:ln>
                <a:noFill/>
              </a:ln>
              <a:solidFill>
                <a:srgbClr val="2A295C"/>
              </a:solidFill>
              <a:effectLst/>
              <a:uLnTx/>
              <a:uFillTx/>
              <a:latin typeface="Arial" panose="020B060402020202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96400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re 21">
            <a:extLst>
              <a:ext uri="{FF2B5EF4-FFF2-40B4-BE49-F238E27FC236}">
                <a16:creationId xmlns:a16="http://schemas.microsoft.com/office/drawing/2014/main" id="{77DAAA5D-62B1-4FBB-9696-0465091244A6}"/>
              </a:ext>
            </a:extLst>
          </p:cNvPr>
          <p:cNvSpPr txBox="1">
            <a:spLocks noGrp="1"/>
          </p:cNvSpPr>
          <p:nvPr>
            <p:ph type="title" idx="4294967295"/>
          </p:nvPr>
        </p:nvSpPr>
        <p:spPr>
          <a:xfrm>
            <a:off x="462042" y="428133"/>
            <a:ext cx="10515600" cy="346249"/>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a:lstStyle>
          <a:p>
            <a:pPr marR="0" lvl="0" algn="l" defTabSz="914377" rtl="0" eaLnBrk="1" fontAlgn="auto" latinLnBrk="0" hangingPunct="1">
              <a:lnSpc>
                <a:spcPct val="90000"/>
              </a:lnSpc>
              <a:spcBef>
                <a:spcPct val="0"/>
              </a:spcBef>
              <a:spcAft>
                <a:spcPts val="0"/>
              </a:spcAft>
              <a:buClrTx/>
              <a:buSzTx/>
              <a:buFontTx/>
              <a:buNone/>
              <a:tabLst>
                <a:tab pos="0" algn="l"/>
              </a:tabLst>
              <a:defRPr/>
            </a:pPr>
            <a:r>
              <a:rPr lang="en-US" dirty="0">
                <a:solidFill>
                  <a:srgbClr val="25359C"/>
                </a:solidFill>
                <a:latin typeface="Arial" panose="020B0604020202020204"/>
              </a:rPr>
              <a:t>Year-end Inventory / Cash </a:t>
            </a:r>
            <a:r>
              <a:rPr kumimoji="0" lang="en-US" sz="2500" b="1" i="0" u="none" strike="noStrike" kern="1200" cap="none" spc="0" normalizeH="0" baseline="0" noProof="0" dirty="0">
                <a:ln>
                  <a:noFill/>
                </a:ln>
                <a:solidFill>
                  <a:srgbClr val="25359C"/>
                </a:solidFill>
                <a:effectLst/>
                <a:uLnTx/>
                <a:uFillTx/>
                <a:latin typeface="Arial" panose="020B0604020202020204"/>
                <a:ea typeface="+mj-ea"/>
                <a:cs typeface="+mj-cs"/>
              </a:rPr>
              <a:t>Audits</a:t>
            </a:r>
          </a:p>
        </p:txBody>
      </p:sp>
      <p:sp>
        <p:nvSpPr>
          <p:cNvPr id="18" name="TextBox 17">
            <a:extLst>
              <a:ext uri="{FF2B5EF4-FFF2-40B4-BE49-F238E27FC236}">
                <a16:creationId xmlns:a16="http://schemas.microsoft.com/office/drawing/2014/main" id="{BD9A9051-F390-4710-9818-0486BFE0DC70}"/>
              </a:ext>
            </a:extLst>
          </p:cNvPr>
          <p:cNvSpPr txBox="1"/>
          <p:nvPr/>
        </p:nvSpPr>
        <p:spPr>
          <a:xfrm>
            <a:off x="462042" y="1763593"/>
            <a:ext cx="2360771" cy="384721"/>
          </a:xfrm>
          <a:prstGeom prst="rect">
            <a:avLst/>
          </a:prstGeom>
          <a:solidFill>
            <a:srgbClr val="25359C"/>
          </a:solidFill>
          <a:ln w="38100">
            <a:noFill/>
          </a:ln>
        </p:spPr>
        <p:txBody>
          <a:bodyPr wrap="square" tIns="91440" rtlCol="0">
            <a:spAutoFit/>
          </a:bodyPr>
          <a:lstStyle/>
          <a:p>
            <a:pPr marL="0" marR="0" lvl="1" indent="0" algn="l" defTabSz="609585" rtl="0" eaLnBrk="1" fontAlgn="auto" latinLnBrk="0" hangingPunct="1">
              <a:lnSpc>
                <a:spcPct val="100000"/>
              </a:lnSpc>
              <a:spcBef>
                <a:spcPts val="0"/>
              </a:spcBef>
              <a:spcAft>
                <a:spcPts val="0"/>
              </a:spcAft>
              <a:buClr>
                <a:prstClr val="white"/>
              </a:buClr>
              <a:buSzPct val="100000"/>
              <a:buFontTx/>
              <a:buNone/>
              <a:tabLst>
                <a:tab pos="1616075" algn="l"/>
                <a:tab pos="2330450" algn="l"/>
                <a:tab pos="8077200" algn="r"/>
              </a:tabLst>
              <a:defRPr/>
            </a:pPr>
            <a:r>
              <a:rPr kumimoji="0" lang="en-US" altLang="fr-FR" sz="1600" b="1" i="0" u="none" strike="noStrike" kern="1200" cap="none" spc="0" normalizeH="0" baseline="0" noProof="0" dirty="0">
                <a:ln>
                  <a:noFill/>
                </a:ln>
                <a:solidFill>
                  <a:prstClr val="white"/>
                </a:solidFill>
                <a:effectLst/>
                <a:uLnTx/>
                <a:uFillTx/>
                <a:latin typeface="Arial" panose="020B0604020202020204"/>
                <a:ea typeface="+mn-ea"/>
                <a:cs typeface="+mn-cs"/>
              </a:rPr>
              <a:t>1.  Tour of Facilities</a:t>
            </a:r>
          </a:p>
        </p:txBody>
      </p:sp>
      <p:sp>
        <p:nvSpPr>
          <p:cNvPr id="4" name="TextBox 3">
            <a:extLst>
              <a:ext uri="{FF2B5EF4-FFF2-40B4-BE49-F238E27FC236}">
                <a16:creationId xmlns:a16="http://schemas.microsoft.com/office/drawing/2014/main" id="{F59D00AF-57EF-4FDA-9E45-D01E2F7F518C}"/>
              </a:ext>
            </a:extLst>
          </p:cNvPr>
          <p:cNvSpPr txBox="1"/>
          <p:nvPr/>
        </p:nvSpPr>
        <p:spPr>
          <a:xfrm>
            <a:off x="2822975" y="1763593"/>
            <a:ext cx="8622383" cy="384721"/>
          </a:xfrm>
          <a:prstGeom prst="rect">
            <a:avLst/>
          </a:prstGeom>
          <a:solidFill>
            <a:srgbClr val="CCD1F3"/>
          </a:solidFill>
          <a:ln w="38100">
            <a:noFill/>
          </a:ln>
        </p:spPr>
        <p:txBody>
          <a:bodyPr wrap="square" tIns="91440" rtlCol="0">
            <a:noAutofit/>
          </a:bodyPr>
          <a:lstStyle/>
          <a:p>
            <a:pPr marL="231775" marR="0" lvl="1" indent="-174625" algn="l" defTabSz="609585" rtl="0" eaLnBrk="1" fontAlgn="auto" latinLnBrk="0" hangingPunct="1">
              <a:lnSpc>
                <a:spcPct val="100000"/>
              </a:lnSpc>
              <a:spcBef>
                <a:spcPts val="300"/>
              </a:spcBef>
              <a:spcAft>
                <a:spcPts val="300"/>
              </a:spcAft>
              <a:buClr>
                <a:srgbClr val="199CDA"/>
              </a:buClr>
              <a:buSzPct val="100000"/>
              <a:buFont typeface="Arial" panose="020B0604020202020204" pitchFamily="34" charset="0"/>
              <a:buChar char="•"/>
              <a:tabLst>
                <a:tab pos="1616075" algn="l"/>
                <a:tab pos="2330450" algn="l"/>
                <a:tab pos="8077200" algn="r"/>
              </a:tabLst>
              <a:defRPr/>
            </a:pPr>
            <a:r>
              <a:rPr kumimoji="0" lang="en-US" altLang="fr-FR" sz="1400" b="0" i="0" u="none" strike="noStrike" kern="0" cap="none" spc="0" normalizeH="0" baseline="0" noProof="0" dirty="0">
                <a:ln>
                  <a:noFill/>
                </a:ln>
                <a:solidFill>
                  <a:srgbClr val="002060"/>
                </a:solidFill>
                <a:effectLst/>
                <a:uLnTx/>
                <a:uFillTx/>
                <a:latin typeface="Arial"/>
                <a:ea typeface="+mn-ea"/>
                <a:cs typeface="+mn-cs"/>
              </a:rPr>
              <a:t>Looking for organization of inventory and count, receiving activity and damaged or spoiled inventory. </a:t>
            </a:r>
          </a:p>
        </p:txBody>
      </p:sp>
      <p:sp>
        <p:nvSpPr>
          <p:cNvPr id="19" name="TextBox 18">
            <a:extLst>
              <a:ext uri="{FF2B5EF4-FFF2-40B4-BE49-F238E27FC236}">
                <a16:creationId xmlns:a16="http://schemas.microsoft.com/office/drawing/2014/main" id="{AB56A656-40C1-4F7A-A155-4AC6276F9D62}"/>
              </a:ext>
            </a:extLst>
          </p:cNvPr>
          <p:cNvSpPr txBox="1"/>
          <p:nvPr/>
        </p:nvSpPr>
        <p:spPr>
          <a:xfrm>
            <a:off x="484652" y="2251986"/>
            <a:ext cx="2338162" cy="962117"/>
          </a:xfrm>
          <a:prstGeom prst="rect">
            <a:avLst/>
          </a:prstGeom>
          <a:solidFill>
            <a:srgbClr val="DA558C"/>
          </a:solidFill>
          <a:ln w="38100">
            <a:noFill/>
          </a:ln>
        </p:spPr>
        <p:txBody>
          <a:bodyPr wrap="square" rtlCol="0" anchor="ctr">
            <a:noAutofit/>
          </a:bodyPr>
          <a:lstStyle/>
          <a:p>
            <a:pPr marL="288925" marR="0" lvl="1" indent="-288925" algn="l" defTabSz="609585" rtl="0" eaLnBrk="1" fontAlgn="auto" latinLnBrk="0" hangingPunct="1">
              <a:lnSpc>
                <a:spcPct val="100000"/>
              </a:lnSpc>
              <a:spcBef>
                <a:spcPts val="0"/>
              </a:spcBef>
              <a:spcAft>
                <a:spcPts val="0"/>
              </a:spcAft>
              <a:buClr>
                <a:prstClr val="white"/>
              </a:buClr>
              <a:buSzTx/>
              <a:buFont typeface="+mj-lt"/>
              <a:buAutoNum type="arabicPeriod" startAt="2"/>
              <a:tabLst/>
              <a:defRPr/>
            </a:pPr>
            <a:r>
              <a:rPr kumimoji="0" lang="en-US" altLang="fr-FR" sz="1600" b="1" i="0" u="none" strike="noStrike" kern="1200" cap="none" spc="0" normalizeH="0" baseline="0" noProof="0" dirty="0">
                <a:ln>
                  <a:noFill/>
                </a:ln>
                <a:solidFill>
                  <a:prstClr val="white"/>
                </a:solidFill>
                <a:effectLst/>
                <a:uLnTx/>
                <a:uFillTx/>
                <a:latin typeface="Arial" panose="020B0604020202020204"/>
                <a:ea typeface="+mn-ea"/>
                <a:cs typeface="+mn-cs"/>
              </a:rPr>
              <a:t>Physical Inventory Observation</a:t>
            </a:r>
            <a:endParaRPr kumimoji="0" lang="en-US" altLang="fr-FR"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C2DB5F8-7CD1-46D6-A8AB-F4E494CB1FCB}"/>
              </a:ext>
            </a:extLst>
          </p:cNvPr>
          <p:cNvSpPr txBox="1"/>
          <p:nvPr/>
        </p:nvSpPr>
        <p:spPr>
          <a:xfrm>
            <a:off x="2822814" y="2251986"/>
            <a:ext cx="8616448" cy="954107"/>
          </a:xfrm>
          <a:prstGeom prst="rect">
            <a:avLst/>
          </a:prstGeom>
          <a:solidFill>
            <a:srgbClr val="FAE5EE"/>
          </a:solidFill>
          <a:ln w="38100">
            <a:noFill/>
          </a:ln>
        </p:spPr>
        <p:txBody>
          <a:bodyPr wrap="square" rtlCol="0">
            <a:spAutoFit/>
          </a:bodyPr>
          <a:lstStyle/>
          <a:p>
            <a:pPr marL="231775" marR="0" lvl="1" indent="-174625" algn="l" defTabSz="609585" rtl="0" eaLnBrk="1" fontAlgn="auto" latinLnBrk="0" hangingPunct="1">
              <a:lnSpc>
                <a:spcPct val="100000"/>
              </a:lnSpc>
              <a:spcBef>
                <a:spcPts val="0"/>
              </a:spcBef>
              <a:spcAft>
                <a:spcPts val="0"/>
              </a:spcAft>
              <a:buClr>
                <a:srgbClr val="199CDA"/>
              </a:buClr>
              <a:buSzTx/>
              <a:buFont typeface="Arial" panose="020B0604020202020204" pitchFamily="34" charset="0"/>
              <a:buChar char="•"/>
              <a:tabLst/>
              <a:defRPr/>
            </a:pPr>
            <a:r>
              <a:rPr kumimoji="0" lang="en-US" altLang="fr-FR" sz="1400" b="0" i="0" u="none" strike="noStrike" kern="0" cap="none" spc="0" normalizeH="0" baseline="0" noProof="0" dirty="0">
                <a:ln>
                  <a:noFill/>
                </a:ln>
                <a:solidFill>
                  <a:srgbClr val="002060"/>
                </a:solidFill>
                <a:effectLst/>
                <a:uLnTx/>
                <a:uFillTx/>
                <a:latin typeface="Arial"/>
                <a:ea typeface="+mn-ea"/>
                <a:cs typeface="+mn-cs"/>
              </a:rPr>
              <a:t>Auditors will request an electronic blank copy of inventory count sheets in advance.</a:t>
            </a:r>
            <a:endParaRPr kumimoji="0" lang="en-US" altLang="fr-FR" sz="1400" b="1" i="0" u="none" strike="noStrike" kern="1200" cap="none" spc="0" normalizeH="0" baseline="0" noProof="0" dirty="0">
              <a:ln>
                <a:noFill/>
              </a:ln>
              <a:solidFill>
                <a:srgbClr val="002060"/>
              </a:solidFill>
              <a:effectLst/>
              <a:uLnTx/>
              <a:uFillTx/>
              <a:latin typeface="Arial" panose="020B0604020202020204"/>
              <a:ea typeface="+mn-ea"/>
              <a:cs typeface="+mn-cs"/>
            </a:endParaRPr>
          </a:p>
          <a:p>
            <a:pPr marL="231775" marR="0" lvl="2" indent="-174625" algn="l" defTabSz="609585" rtl="0" eaLnBrk="1" fontAlgn="auto" latinLnBrk="0" hangingPunct="1">
              <a:lnSpc>
                <a:spcPct val="100000"/>
              </a:lnSpc>
              <a:spcBef>
                <a:spcPts val="0"/>
              </a:spcBef>
              <a:spcAft>
                <a:spcPts val="0"/>
              </a:spcAft>
              <a:buClr>
                <a:srgbClr val="199CDA"/>
              </a:buClr>
              <a:buSzTx/>
              <a:buFont typeface="Arial" panose="020B0604020202020204" pitchFamily="34" charset="0"/>
              <a:buChar char="•"/>
              <a:tabLst>
                <a:tab pos="690563"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Observe physical inventory by counter and writer. </a:t>
            </a:r>
          </a:p>
          <a:p>
            <a:pPr marL="233363" marR="0" lvl="2" indent="0" algn="l" defTabSz="609585" rtl="0" eaLnBrk="1" fontAlgn="auto" latinLnBrk="0" hangingPunct="1">
              <a:lnSpc>
                <a:spcPct val="100000"/>
              </a:lnSpc>
              <a:spcBef>
                <a:spcPts val="0"/>
              </a:spcBef>
              <a:spcAft>
                <a:spcPts val="0"/>
              </a:spcAft>
              <a:buClr>
                <a:srgbClr val="199CDA"/>
              </a:buClr>
              <a:buSzTx/>
              <a:buFontTx/>
              <a:buNone/>
              <a:tabLst>
                <a:tab pos="690563"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Segregation of duties - Count team members should not be involved in data entry of inventory extensions or Inventory Summary report (Contact DM to get help if needed))</a:t>
            </a:r>
          </a:p>
        </p:txBody>
      </p:sp>
      <p:sp>
        <p:nvSpPr>
          <p:cNvPr id="20" name="TextBox 19">
            <a:extLst>
              <a:ext uri="{FF2B5EF4-FFF2-40B4-BE49-F238E27FC236}">
                <a16:creationId xmlns:a16="http://schemas.microsoft.com/office/drawing/2014/main" id="{8710FFD4-1F8B-4061-BDD3-A1B5F97D0EB6}"/>
              </a:ext>
            </a:extLst>
          </p:cNvPr>
          <p:cNvSpPr txBox="1"/>
          <p:nvPr/>
        </p:nvSpPr>
        <p:spPr>
          <a:xfrm>
            <a:off x="490747" y="4570595"/>
            <a:ext cx="2354674" cy="1626678"/>
          </a:xfrm>
          <a:prstGeom prst="rect">
            <a:avLst/>
          </a:prstGeom>
          <a:solidFill>
            <a:srgbClr val="915FC8"/>
          </a:solidFill>
          <a:ln w="38100">
            <a:noFill/>
          </a:ln>
        </p:spPr>
        <p:txBody>
          <a:bodyPr wrap="square" tIns="91440" rtlCol="0" anchor="ctr">
            <a:noAutofit/>
          </a:bodyPr>
          <a:lstStyle/>
          <a:p>
            <a:pPr marL="342900" marR="0" lvl="1" indent="-342900" algn="l" defTabSz="609585" rtl="0" eaLnBrk="1" fontAlgn="auto" latinLnBrk="0" hangingPunct="1">
              <a:lnSpc>
                <a:spcPct val="100000"/>
              </a:lnSpc>
              <a:spcBef>
                <a:spcPts val="0"/>
              </a:spcBef>
              <a:spcAft>
                <a:spcPts val="0"/>
              </a:spcAft>
              <a:buClr>
                <a:prstClr val="white"/>
              </a:buClr>
              <a:buSzTx/>
              <a:buFont typeface="+mj-lt"/>
              <a:buAutoNum type="arabicPeriod" startAt="4"/>
              <a:tabLst/>
              <a:defRPr/>
            </a:pPr>
            <a:r>
              <a:rPr kumimoji="0" lang="en-US" altLang="fr-FR" sz="1600" b="1" i="0" u="none" strike="noStrike" kern="1200" cap="none" spc="0" normalizeH="0" baseline="0" noProof="0" dirty="0">
                <a:ln>
                  <a:noFill/>
                </a:ln>
                <a:solidFill>
                  <a:prstClr val="white"/>
                </a:solidFill>
                <a:effectLst/>
                <a:uLnTx/>
                <a:uFillTx/>
                <a:latin typeface="Arial" panose="020B0604020202020204"/>
                <a:ea typeface="+mn-ea"/>
                <a:cs typeface="+mn-cs"/>
              </a:rPr>
              <a:t>Verification and Reconciliation</a:t>
            </a:r>
          </a:p>
        </p:txBody>
      </p:sp>
      <p:sp>
        <p:nvSpPr>
          <p:cNvPr id="12" name="TextBox 11">
            <a:extLst>
              <a:ext uri="{FF2B5EF4-FFF2-40B4-BE49-F238E27FC236}">
                <a16:creationId xmlns:a16="http://schemas.microsoft.com/office/drawing/2014/main" id="{C8695004-5893-4C74-BD2A-C92866454A1E}"/>
              </a:ext>
            </a:extLst>
          </p:cNvPr>
          <p:cNvSpPr txBox="1"/>
          <p:nvPr/>
        </p:nvSpPr>
        <p:spPr>
          <a:xfrm>
            <a:off x="2822813" y="4550668"/>
            <a:ext cx="8639057" cy="1646605"/>
          </a:xfrm>
          <a:prstGeom prst="rect">
            <a:avLst/>
          </a:prstGeom>
          <a:solidFill>
            <a:srgbClr val="F3EDF9"/>
          </a:solidFill>
          <a:ln w="38100">
            <a:noFill/>
          </a:ln>
        </p:spPr>
        <p:txBody>
          <a:bodyPr wrap="square" tIns="91440" rtlCol="0">
            <a:spAutoFit/>
          </a:bodyPr>
          <a:lstStyle/>
          <a:p>
            <a:pPr marL="57150" marR="0" lvl="2" indent="0" algn="l" defTabSz="609585" rtl="0" eaLnBrk="1" fontAlgn="auto" latinLnBrk="0" hangingPunct="1">
              <a:lnSpc>
                <a:spcPct val="100000"/>
              </a:lnSpc>
              <a:spcBef>
                <a:spcPts val="0"/>
              </a:spcBef>
              <a:spcAft>
                <a:spcPts val="0"/>
              </a:spcAft>
              <a:buClr>
                <a:srgbClr val="199CDA"/>
              </a:buClr>
              <a:buSzTx/>
              <a:buFontTx/>
              <a:buNone/>
              <a:tabLst>
                <a:tab pos="1092200"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Auditor will complete the following:</a:t>
            </a:r>
          </a:p>
          <a:p>
            <a:pPr marL="231775" marR="0" lvl="2" indent="-174625" algn="l" defTabSz="609585" rtl="0" eaLnBrk="1" fontAlgn="auto" latinLnBrk="0" hangingPunct="1">
              <a:lnSpc>
                <a:spcPct val="100000"/>
              </a:lnSpc>
              <a:spcBef>
                <a:spcPts val="0"/>
              </a:spcBef>
              <a:spcAft>
                <a:spcPts val="0"/>
              </a:spcAft>
              <a:buClr>
                <a:srgbClr val="199CDA"/>
              </a:buClr>
              <a:buSzTx/>
              <a:buFont typeface="Arial" panose="020B0604020202020204" pitchFamily="34" charset="0"/>
              <a:buChar char="•"/>
              <a:tabLst>
                <a:tab pos="1092200"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Recount a sample of items to check counter/writer’s work. (On-site units only)</a:t>
            </a:r>
          </a:p>
          <a:p>
            <a:pPr marL="231775" marR="0" lvl="2" indent="-174625" algn="l" defTabSz="609585" rtl="0" eaLnBrk="1" fontAlgn="auto" latinLnBrk="0" hangingPunct="1">
              <a:lnSpc>
                <a:spcPct val="100000"/>
              </a:lnSpc>
              <a:spcBef>
                <a:spcPts val="0"/>
              </a:spcBef>
              <a:spcAft>
                <a:spcPts val="0"/>
              </a:spcAft>
              <a:buClr>
                <a:srgbClr val="199CDA"/>
              </a:buClr>
              <a:buSzTx/>
              <a:buFont typeface="Arial" panose="020B0604020202020204" pitchFamily="34" charset="0"/>
              <a:buChar char="•"/>
              <a:tabLst>
                <a:tab pos="1092200"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Reconcile manual count sheets to inventory extension (TMC/UFS/Excel)</a:t>
            </a:r>
          </a:p>
          <a:p>
            <a:pPr marL="231775" marR="0" lvl="2" indent="-174625" algn="l" defTabSz="609585" rtl="0" eaLnBrk="1" fontAlgn="auto" latinLnBrk="0" hangingPunct="1">
              <a:lnSpc>
                <a:spcPct val="100000"/>
              </a:lnSpc>
              <a:spcBef>
                <a:spcPts val="0"/>
              </a:spcBef>
              <a:spcAft>
                <a:spcPts val="0"/>
              </a:spcAft>
              <a:buClr>
                <a:srgbClr val="199CDA"/>
              </a:buClr>
              <a:buSzTx/>
              <a:buFont typeface="Arial" panose="020B0604020202020204" pitchFamily="34" charset="0"/>
              <a:buChar char="•"/>
              <a:tabLst>
                <a:tab pos="1092200"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Reconcile inventory prices in extension calculation (to TMC for system vendors or copies of invoice for out of system vendors (keep invoices on hand))</a:t>
            </a:r>
          </a:p>
          <a:p>
            <a:pPr marL="231775" marR="0" lvl="2" indent="-174625" algn="l" defTabSz="609585" rtl="0" eaLnBrk="1" fontAlgn="auto" latinLnBrk="0" hangingPunct="1">
              <a:lnSpc>
                <a:spcPct val="100000"/>
              </a:lnSpc>
              <a:spcBef>
                <a:spcPts val="0"/>
              </a:spcBef>
              <a:spcAft>
                <a:spcPts val="0"/>
              </a:spcAft>
              <a:buClr>
                <a:srgbClr val="199CDA"/>
              </a:buClr>
              <a:buSzTx/>
              <a:buFont typeface="Arial" panose="020B0604020202020204" pitchFamily="34" charset="0"/>
              <a:buChar char="•"/>
              <a:tabLst>
                <a:tab pos="1092200"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Reconcile the inventory extension reports to the UFS Summary Report</a:t>
            </a:r>
          </a:p>
          <a:p>
            <a:pPr marL="231775" marR="0" lvl="2" indent="-174625" algn="l" defTabSz="609585" rtl="0" eaLnBrk="1" fontAlgn="auto" latinLnBrk="0" hangingPunct="1">
              <a:lnSpc>
                <a:spcPct val="100000"/>
              </a:lnSpc>
              <a:spcBef>
                <a:spcPts val="0"/>
              </a:spcBef>
              <a:spcAft>
                <a:spcPts val="600"/>
              </a:spcAft>
              <a:buClr>
                <a:srgbClr val="199CDA"/>
              </a:buClr>
              <a:buSzTx/>
              <a:buFont typeface="Arial" panose="020B0604020202020204" pitchFamily="34" charset="0"/>
              <a:buChar char="•"/>
              <a:tabLst>
                <a:tab pos="1092200" algn="l"/>
                <a:tab pos="2149475" algn="l"/>
                <a:tab pos="8077200" algn="r"/>
              </a:tabLst>
              <a:defRPr/>
            </a:pPr>
            <a:r>
              <a:rPr kumimoji="0" lang="en-US" altLang="fr-FR" sz="1400" b="0" i="0" u="none" strike="noStrike" kern="1200" cap="none" spc="0" normalizeH="0" baseline="0" noProof="0" dirty="0">
                <a:ln>
                  <a:noFill/>
                </a:ln>
                <a:solidFill>
                  <a:srgbClr val="002060"/>
                </a:solidFill>
                <a:effectLst/>
                <a:uLnTx/>
                <a:uFillTx/>
                <a:latin typeface="Arial" panose="020B0604020202020204"/>
                <a:ea typeface="+mn-ea"/>
                <a:cs typeface="+mn-cs"/>
              </a:rPr>
              <a:t>Reconcile the UFS Summary Report to the general ledger</a:t>
            </a:r>
          </a:p>
        </p:txBody>
      </p:sp>
      <p:sp>
        <p:nvSpPr>
          <p:cNvPr id="10" name="Footer Placeholder 9">
            <a:extLst>
              <a:ext uri="{FF2B5EF4-FFF2-40B4-BE49-F238E27FC236}">
                <a16:creationId xmlns:a16="http://schemas.microsoft.com/office/drawing/2014/main" id="{337BFADF-53FC-42D7-937B-E1A6ADF121CE}"/>
              </a:ext>
            </a:extLst>
          </p:cNvPr>
          <p:cNvSpPr>
            <a:spLocks noGrp="1"/>
          </p:cNvSpPr>
          <p:nvPr>
            <p:ph type="ftr" sz="quarter" idx="3"/>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8" name="Subtitle 3">
            <a:extLst>
              <a:ext uri="{FF2B5EF4-FFF2-40B4-BE49-F238E27FC236}">
                <a16:creationId xmlns:a16="http://schemas.microsoft.com/office/drawing/2014/main" id="{B529D115-7B37-DF5A-9034-887A5D9BB67A}"/>
              </a:ext>
            </a:extLst>
          </p:cNvPr>
          <p:cNvSpPr txBox="1">
            <a:spLocks/>
          </p:cNvSpPr>
          <p:nvPr/>
        </p:nvSpPr>
        <p:spPr>
          <a:xfrm>
            <a:off x="377567" y="794309"/>
            <a:ext cx="10515600" cy="358496"/>
          </a:xfrm>
          <a:prstGeom prst="rect">
            <a:avLst/>
          </a:prstGeom>
        </p:spPr>
        <p:txBody>
          <a:bodyPr/>
          <a:lst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a:ea typeface="+mn-ea"/>
                <a:cs typeface="+mn-cs"/>
              </a:rPr>
              <a:t>What to Expect</a:t>
            </a:r>
          </a:p>
        </p:txBody>
      </p:sp>
      <p:sp>
        <p:nvSpPr>
          <p:cNvPr id="9" name="TextBox 8">
            <a:extLst>
              <a:ext uri="{FF2B5EF4-FFF2-40B4-BE49-F238E27FC236}">
                <a16:creationId xmlns:a16="http://schemas.microsoft.com/office/drawing/2014/main" id="{0E492D2D-9A07-1093-98B7-A77D5B31B338}"/>
              </a:ext>
            </a:extLst>
          </p:cNvPr>
          <p:cNvSpPr txBox="1"/>
          <p:nvPr/>
        </p:nvSpPr>
        <p:spPr>
          <a:xfrm>
            <a:off x="377567" y="1363115"/>
            <a:ext cx="1630218" cy="40011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On-Site </a:t>
            </a:r>
          </a:p>
        </p:txBody>
      </p:sp>
      <p:sp>
        <p:nvSpPr>
          <p:cNvPr id="13" name="TextBox 12">
            <a:extLst>
              <a:ext uri="{FF2B5EF4-FFF2-40B4-BE49-F238E27FC236}">
                <a16:creationId xmlns:a16="http://schemas.microsoft.com/office/drawing/2014/main" id="{4A90722F-8105-B52E-8E00-95E0EFFDBD1D}"/>
              </a:ext>
            </a:extLst>
          </p:cNvPr>
          <p:cNvSpPr txBox="1"/>
          <p:nvPr/>
        </p:nvSpPr>
        <p:spPr>
          <a:xfrm>
            <a:off x="377567" y="4120873"/>
            <a:ext cx="3145239" cy="40011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a:ea typeface="+mn-ea"/>
                <a:cs typeface="+mn-cs"/>
              </a:rPr>
              <a:t>On-Site and Desk</a:t>
            </a:r>
          </a:p>
        </p:txBody>
      </p:sp>
      <p:sp>
        <p:nvSpPr>
          <p:cNvPr id="5" name="TextBox 4">
            <a:extLst>
              <a:ext uri="{FF2B5EF4-FFF2-40B4-BE49-F238E27FC236}">
                <a16:creationId xmlns:a16="http://schemas.microsoft.com/office/drawing/2014/main" id="{4A13EF74-179E-4275-BC0B-1C82F9F04E35}"/>
              </a:ext>
            </a:extLst>
          </p:cNvPr>
          <p:cNvSpPr txBox="1"/>
          <p:nvPr/>
        </p:nvSpPr>
        <p:spPr>
          <a:xfrm>
            <a:off x="484652" y="3314562"/>
            <a:ext cx="2332066" cy="338554"/>
          </a:xfrm>
          <a:prstGeom prst="rect">
            <a:avLst/>
          </a:prstGeom>
          <a:solidFill>
            <a:schemeClr val="accent2"/>
          </a:solid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mn-ea"/>
                <a:cs typeface="+mn-cs"/>
              </a:rPr>
              <a:t>3.  Cash</a:t>
            </a:r>
          </a:p>
        </p:txBody>
      </p:sp>
      <p:sp>
        <p:nvSpPr>
          <p:cNvPr id="6" name="TextBox 5">
            <a:extLst>
              <a:ext uri="{FF2B5EF4-FFF2-40B4-BE49-F238E27FC236}">
                <a16:creationId xmlns:a16="http://schemas.microsoft.com/office/drawing/2014/main" id="{08D320B7-07C0-2ABF-8093-2EF480C8CC99}"/>
              </a:ext>
            </a:extLst>
          </p:cNvPr>
          <p:cNvSpPr txBox="1"/>
          <p:nvPr/>
        </p:nvSpPr>
        <p:spPr>
          <a:xfrm>
            <a:off x="2816718" y="3327161"/>
            <a:ext cx="8622383" cy="316737"/>
          </a:xfrm>
          <a:prstGeom prst="rect">
            <a:avLst/>
          </a:prstGeom>
          <a:solidFill>
            <a:schemeClr val="accent2">
              <a:lumMod val="20000"/>
              <a:lumOff val="80000"/>
            </a:schemeClr>
          </a:solidFill>
          <a:ln w="38100">
            <a:noFill/>
          </a:ln>
        </p:spPr>
        <p:txBody>
          <a:bodyPr wrap="square" tIns="91440" rtlCol="0" anchor="ctr">
            <a:noAutofit/>
          </a:bodyPr>
          <a:lstStyle/>
          <a:p>
            <a:pPr marL="231775" marR="0" lvl="1" indent="-174625" algn="l" defTabSz="609585" rtl="0" eaLnBrk="1" fontAlgn="auto" latinLnBrk="0" hangingPunct="1">
              <a:lnSpc>
                <a:spcPct val="100000"/>
              </a:lnSpc>
              <a:spcBef>
                <a:spcPts val="300"/>
              </a:spcBef>
              <a:spcAft>
                <a:spcPts val="300"/>
              </a:spcAft>
              <a:buClr>
                <a:srgbClr val="199CDA"/>
              </a:buClr>
              <a:buSzPct val="100000"/>
              <a:buFont typeface="Arial" panose="020B0604020202020204" pitchFamily="34" charset="0"/>
              <a:buChar char="•"/>
              <a:tabLst>
                <a:tab pos="1616075" algn="l"/>
                <a:tab pos="2330450" algn="l"/>
                <a:tab pos="8077200" algn="r"/>
              </a:tabLst>
              <a:defRPr/>
            </a:pPr>
            <a:r>
              <a:rPr kumimoji="0" lang="en-US" altLang="fr-FR" sz="1400" b="0" i="0" u="none" strike="noStrike" kern="0" cap="none" spc="0" normalizeH="0" baseline="0" noProof="0" dirty="0">
                <a:ln>
                  <a:noFill/>
                </a:ln>
                <a:solidFill>
                  <a:srgbClr val="002060"/>
                </a:solidFill>
                <a:effectLst/>
                <a:uLnTx/>
                <a:uFillTx/>
                <a:latin typeface="Arial"/>
                <a:ea typeface="+mn-ea"/>
                <a:cs typeface="+mn-cs"/>
              </a:rPr>
              <a:t>Count the cash in the safe and compare to the Unit Fund balance (account 5300.0001).</a:t>
            </a:r>
          </a:p>
        </p:txBody>
      </p:sp>
    </p:spTree>
    <p:extLst>
      <p:ext uri="{BB962C8B-B14F-4D97-AF65-F5344CB8AC3E}">
        <p14:creationId xmlns:p14="http://schemas.microsoft.com/office/powerpoint/2010/main" val="40958638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re 21">
            <a:extLst>
              <a:ext uri="{FF2B5EF4-FFF2-40B4-BE49-F238E27FC236}">
                <a16:creationId xmlns:a16="http://schemas.microsoft.com/office/drawing/2014/main" id="{77DAAA5D-62B1-4FBB-9696-0465091244A6}"/>
              </a:ext>
            </a:extLst>
          </p:cNvPr>
          <p:cNvSpPr txBox="1">
            <a:spLocks noGrp="1"/>
          </p:cNvSpPr>
          <p:nvPr>
            <p:ph type="title" idx="4294967295"/>
          </p:nvPr>
        </p:nvSpPr>
        <p:spPr>
          <a:xfrm>
            <a:off x="462042" y="428133"/>
            <a:ext cx="10515600" cy="346249"/>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a:lstStyle>
          <a:p>
            <a:pPr marR="0" lvl="0" algn="l" defTabSz="914377" rtl="0" eaLnBrk="1" fontAlgn="auto" latinLnBrk="0" hangingPunct="1">
              <a:lnSpc>
                <a:spcPct val="90000"/>
              </a:lnSpc>
              <a:spcBef>
                <a:spcPct val="0"/>
              </a:spcBef>
              <a:spcAft>
                <a:spcPts val="0"/>
              </a:spcAft>
              <a:buClrTx/>
              <a:buSzTx/>
              <a:buFontTx/>
              <a:buNone/>
              <a:tabLst>
                <a:tab pos="0" algn="l"/>
              </a:tabLst>
              <a:defRPr/>
            </a:pPr>
            <a:r>
              <a:rPr lang="en-US" dirty="0">
                <a:solidFill>
                  <a:srgbClr val="25359C"/>
                </a:solidFill>
                <a:latin typeface="Arial" panose="020B0604020202020204"/>
              </a:rPr>
              <a:t>Contacts</a:t>
            </a:r>
            <a:endParaRPr kumimoji="0" lang="en-US" sz="2500" b="1" i="0" u="none" strike="noStrike" kern="1200" cap="none" spc="0" normalizeH="0" baseline="0" noProof="0" dirty="0">
              <a:ln>
                <a:noFill/>
              </a:ln>
              <a:solidFill>
                <a:srgbClr val="25359C"/>
              </a:solidFill>
              <a:effectLst/>
              <a:uLnTx/>
              <a:uFillTx/>
              <a:latin typeface="Arial" panose="020B0604020202020204"/>
              <a:ea typeface="+mj-ea"/>
              <a:cs typeface="+mj-cs"/>
            </a:endParaRPr>
          </a:p>
        </p:txBody>
      </p:sp>
      <p:sp>
        <p:nvSpPr>
          <p:cNvPr id="10" name="Footer Placeholder 9">
            <a:extLst>
              <a:ext uri="{FF2B5EF4-FFF2-40B4-BE49-F238E27FC236}">
                <a16:creationId xmlns:a16="http://schemas.microsoft.com/office/drawing/2014/main" id="{337BFADF-53FC-42D7-937B-E1A6ADF121CE}"/>
              </a:ext>
            </a:extLst>
          </p:cNvPr>
          <p:cNvSpPr>
            <a:spLocks noGrp="1"/>
          </p:cNvSpPr>
          <p:nvPr>
            <p:ph type="ftr" sz="quarter" idx="3"/>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8" name="Subtitle 3">
            <a:extLst>
              <a:ext uri="{FF2B5EF4-FFF2-40B4-BE49-F238E27FC236}">
                <a16:creationId xmlns:a16="http://schemas.microsoft.com/office/drawing/2014/main" id="{B529D115-7B37-DF5A-9034-887A5D9BB67A}"/>
              </a:ext>
            </a:extLst>
          </p:cNvPr>
          <p:cNvSpPr txBox="1">
            <a:spLocks/>
          </p:cNvSpPr>
          <p:nvPr/>
        </p:nvSpPr>
        <p:spPr>
          <a:xfrm>
            <a:off x="377567" y="794309"/>
            <a:ext cx="10515600" cy="358496"/>
          </a:xfrm>
          <a:prstGeom prst="rect">
            <a:avLst/>
          </a:prstGeom>
        </p:spPr>
        <p:txBody>
          <a:bodyPr/>
          <a:lst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a:ea typeface="+mn-ea"/>
                <a:cs typeface="+mn-cs"/>
              </a:rPr>
              <a:t>Accounts Payable and Internal Control Departments</a:t>
            </a:r>
          </a:p>
        </p:txBody>
      </p:sp>
      <p:graphicFrame>
        <p:nvGraphicFramePr>
          <p:cNvPr id="3" name="Group 30">
            <a:extLst>
              <a:ext uri="{FF2B5EF4-FFF2-40B4-BE49-F238E27FC236}">
                <a16:creationId xmlns:a16="http://schemas.microsoft.com/office/drawing/2014/main" id="{F7D5398A-50C4-F31C-7F86-B69F9836EAAA}"/>
              </a:ext>
            </a:extLst>
          </p:cNvPr>
          <p:cNvGraphicFramePr>
            <a:graphicFrameLocks/>
          </p:cNvGraphicFramePr>
          <p:nvPr/>
        </p:nvGraphicFramePr>
        <p:xfrm>
          <a:off x="462041" y="1648046"/>
          <a:ext cx="9989764" cy="2817628"/>
        </p:xfrm>
        <a:graphic>
          <a:graphicData uri="http://schemas.openxmlformats.org/drawingml/2006/table">
            <a:tbl>
              <a:tblPr/>
              <a:tblGrid>
                <a:gridCol w="3038885">
                  <a:extLst>
                    <a:ext uri="{9D8B030D-6E8A-4147-A177-3AD203B41FA5}">
                      <a16:colId xmlns:a16="http://schemas.microsoft.com/office/drawing/2014/main" val="20000"/>
                    </a:ext>
                  </a:extLst>
                </a:gridCol>
                <a:gridCol w="6950879">
                  <a:extLst>
                    <a:ext uri="{9D8B030D-6E8A-4147-A177-3AD203B41FA5}">
                      <a16:colId xmlns:a16="http://schemas.microsoft.com/office/drawing/2014/main" val="20001"/>
                    </a:ext>
                  </a:extLst>
                </a:gridCol>
              </a:tblGrid>
              <a:tr h="1275078">
                <a:tc>
                  <a:txBody>
                    <a:bodyPr/>
                    <a:lstStyle/>
                    <a:p>
                      <a:pPr marL="0" marR="0" lvl="0" indent="0" algn="just" defTabSz="914400" rtl="0" eaLnBrk="1" fontAlgn="ctr" latinLnBrk="0" hangingPunct="1">
                        <a:lnSpc>
                          <a:spcPct val="100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800" b="1" i="0" u="none" strike="noStrike" kern="1100" cap="none" normalizeH="0" baseline="0" dirty="0">
                          <a:ln>
                            <a:noFill/>
                          </a:ln>
                          <a:solidFill>
                            <a:srgbClr val="0B3A8B"/>
                          </a:solidFill>
                          <a:effectLst/>
                          <a:latin typeface="Arial" charset="0"/>
                          <a:ea typeface="+mn-ea"/>
                          <a:cs typeface="+mn-cs"/>
                        </a:rPr>
                        <a:t>Accounts Payable:</a:t>
                      </a:r>
                    </a:p>
                    <a:p>
                      <a:pPr marL="0" marR="0" lvl="0" indent="0" algn="just" defTabSz="914400" rtl="0" eaLnBrk="1" fontAlgn="ctr" latinLnBrk="0" hangingPunct="1">
                        <a:lnSpc>
                          <a:spcPct val="100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800" b="1" i="0" u="none" strike="noStrike" kern="1100" cap="none" normalizeH="0" baseline="0" dirty="0">
                          <a:ln>
                            <a:noFill/>
                          </a:ln>
                          <a:solidFill>
                            <a:srgbClr val="0B3A8B"/>
                          </a:solidFill>
                          <a:effectLst/>
                          <a:latin typeface="Arial" charset="0"/>
                          <a:ea typeface="+mn-ea"/>
                          <a:cs typeface="+mn-cs"/>
                        </a:rPr>
                        <a:t>Inventory </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700" b="0" i="0" u="none" strike="noStrike" kern="1200" cap="none" normalizeH="0" baseline="0" dirty="0">
                          <a:ln>
                            <a:noFill/>
                          </a:ln>
                          <a:solidFill>
                            <a:srgbClr val="0B3A8B"/>
                          </a:solidFill>
                          <a:effectLst/>
                          <a:latin typeface="Arial" charset="0"/>
                          <a:ea typeface="+mn-ea"/>
                          <a:cs typeface="+mn-cs"/>
                        </a:rPr>
                        <a:t>Steve Dabrowski 716-428-8286        Laurie Edgar 716-428-8343</a:t>
                      </a: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700" b="0" i="0" u="none" strike="noStrike" kern="1200" cap="none" normalizeH="0" baseline="0" dirty="0">
                          <a:ln>
                            <a:noFill/>
                          </a:ln>
                          <a:solidFill>
                            <a:srgbClr val="0B3A8B"/>
                          </a:solidFill>
                          <a:effectLst/>
                          <a:latin typeface="Arial" charset="0"/>
                          <a:ea typeface="+mn-ea"/>
                          <a:cs typeface="+mn-cs"/>
                          <a:hlinkClick r:id="rId3"/>
                        </a:rPr>
                        <a:t>Stephen.Dabrowski@sodexo.com</a:t>
                      </a:r>
                      <a:r>
                        <a:rPr kumimoji="0" lang="en-US" sz="1700" b="0" i="0" u="none" strike="noStrike" kern="1200" cap="none" normalizeH="0" baseline="0" dirty="0">
                          <a:ln>
                            <a:noFill/>
                          </a:ln>
                          <a:solidFill>
                            <a:srgbClr val="0B3A8B"/>
                          </a:solidFill>
                          <a:effectLst/>
                          <a:latin typeface="Arial" charset="0"/>
                          <a:ea typeface="+mn-ea"/>
                          <a:cs typeface="+mn-cs"/>
                        </a:rPr>
                        <a:t>    </a:t>
                      </a:r>
                      <a:r>
                        <a:rPr kumimoji="0" lang="en-US" sz="1700" b="0" i="0" u="none" strike="noStrike" kern="1200" cap="none" normalizeH="0" baseline="0" dirty="0">
                          <a:ln>
                            <a:noFill/>
                          </a:ln>
                          <a:solidFill>
                            <a:srgbClr val="0B3A8B"/>
                          </a:solidFill>
                          <a:effectLst/>
                          <a:latin typeface="Arial" charset="0"/>
                          <a:ea typeface="+mn-ea"/>
                          <a:cs typeface="+mn-cs"/>
                          <a:hlinkClick r:id="rId4"/>
                        </a:rPr>
                        <a:t>Laurie.Edgar@sodexo.com</a:t>
                      </a:r>
                      <a:endParaRPr kumimoji="0" lang="en-US" sz="1700" b="0" i="0" u="none" strike="noStrike" kern="1200" cap="none" normalizeH="0" baseline="0" dirty="0">
                        <a:ln>
                          <a:noFill/>
                        </a:ln>
                        <a:solidFill>
                          <a:srgbClr val="0B3A8B"/>
                        </a:solidFill>
                        <a:effectLst/>
                        <a:latin typeface="Arial" charset="0"/>
                        <a:ea typeface="+mn-ea"/>
                        <a:cs typeface="+mn-cs"/>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542550">
                <a:tc>
                  <a:txBody>
                    <a:bodyPr/>
                    <a:lstStyle/>
                    <a:p>
                      <a:pPr marL="0" marR="0" lvl="0" indent="0" algn="l" defTabSz="914400" rtl="0" eaLnBrk="1" fontAlgn="ctr" latinLnBrk="0" hangingPunct="1">
                        <a:lnSpc>
                          <a:spcPct val="100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800" b="1" i="0" u="none" strike="noStrike" cap="none" normalizeH="0" baseline="0" dirty="0">
                          <a:ln>
                            <a:noFill/>
                          </a:ln>
                          <a:solidFill>
                            <a:srgbClr val="0B3A8B"/>
                          </a:solidFill>
                          <a:effectLst/>
                          <a:latin typeface="Arial" charset="0"/>
                        </a:rPr>
                        <a:t>Integrated Internal Control Department  (I2C)</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pPr>
                      <a:r>
                        <a:rPr kumimoji="0" lang="en-US" sz="1700" b="0" i="0" u="none" strike="noStrike" kern="1200" cap="none" normalizeH="0" baseline="0" dirty="0">
                          <a:ln>
                            <a:noFill/>
                          </a:ln>
                          <a:solidFill>
                            <a:srgbClr val="0B3A8B"/>
                          </a:solidFill>
                          <a:effectLst/>
                          <a:latin typeface="Arial" charset="0"/>
                          <a:ea typeface="+mn-ea"/>
                          <a:cs typeface="+mn-cs"/>
                        </a:rPr>
                        <a:t>Chad Mayerhofer  716-428-8124      Yvonne D’Aloise  716-428-8637</a:t>
                      </a: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defRPr/>
                      </a:pPr>
                      <a:r>
                        <a:rPr kumimoji="0" lang="en-US" sz="1700" b="0" i="0" u="none" strike="noStrike" kern="1200" cap="none" normalizeH="0" baseline="0" dirty="0">
                          <a:ln>
                            <a:noFill/>
                          </a:ln>
                          <a:solidFill>
                            <a:srgbClr val="0B3A8B"/>
                          </a:solidFill>
                          <a:effectLst/>
                          <a:latin typeface="Arial" charset="0"/>
                          <a:ea typeface="+mn-ea"/>
                          <a:cs typeface="+mn-cs"/>
                          <a:hlinkClick r:id="rId5"/>
                        </a:rPr>
                        <a:t>Chad.Mayerhofer@sodexo.com</a:t>
                      </a:r>
                      <a:r>
                        <a:rPr kumimoji="0" lang="en-US" sz="1700" b="0" i="0" u="none" strike="noStrike" kern="1200" cap="none" normalizeH="0" baseline="0" dirty="0">
                          <a:ln>
                            <a:noFill/>
                          </a:ln>
                          <a:solidFill>
                            <a:srgbClr val="0B3A8B"/>
                          </a:solidFill>
                          <a:effectLst/>
                          <a:latin typeface="Arial" charset="0"/>
                          <a:ea typeface="+mn-ea"/>
                          <a:cs typeface="+mn-cs"/>
                        </a:rPr>
                        <a:t>        </a:t>
                      </a:r>
                      <a:r>
                        <a:rPr kumimoji="0" lang="en-US" sz="1700" b="0" i="0" u="none" strike="noStrike" kern="1200" cap="none" normalizeH="0" baseline="0" dirty="0">
                          <a:ln>
                            <a:noFill/>
                          </a:ln>
                          <a:solidFill>
                            <a:srgbClr val="0B3A8B"/>
                          </a:solidFill>
                          <a:effectLst/>
                          <a:latin typeface="Arial" charset="0"/>
                          <a:ea typeface="+mn-ea"/>
                          <a:cs typeface="+mn-cs"/>
                          <a:hlinkClick r:id="rId6"/>
                        </a:rPr>
                        <a:t>Yvonne.Daloise@sodexo.com</a:t>
                      </a:r>
                      <a:endParaRPr kumimoji="0" lang="en-US" sz="1700" b="0" i="0" u="none" strike="noStrike" kern="1200" cap="none" normalizeH="0" baseline="0" dirty="0">
                        <a:ln>
                          <a:noFill/>
                        </a:ln>
                        <a:solidFill>
                          <a:srgbClr val="0B3A8B"/>
                        </a:solidFill>
                        <a:effectLst/>
                        <a:latin typeface="Arial" charset="0"/>
                        <a:ea typeface="+mn-ea"/>
                        <a:cs typeface="+mn-cs"/>
                      </a:endParaRP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defRPr/>
                      </a:pPr>
                      <a:endParaRPr kumimoji="0" lang="en-US" sz="1700" b="0" i="0" u="none" strike="noStrike" kern="1200" cap="none" normalizeH="0" baseline="0" dirty="0">
                        <a:ln>
                          <a:noFill/>
                        </a:ln>
                        <a:solidFill>
                          <a:srgbClr val="0B3A8B"/>
                        </a:solidFill>
                        <a:effectLst/>
                        <a:latin typeface="Arial" charset="0"/>
                        <a:ea typeface="+mn-ea"/>
                        <a:cs typeface="+mn-cs"/>
                      </a:endParaRPr>
                    </a:p>
                    <a:p>
                      <a:pPr marL="0" marR="0" lvl="0" indent="0" algn="l" defTabSz="914400" rtl="0" eaLnBrk="1" fontAlgn="ctr" latinLnBrk="0" hangingPunct="1">
                        <a:lnSpc>
                          <a:spcPct val="75000"/>
                        </a:lnSpc>
                        <a:spcBef>
                          <a:spcPct val="20000"/>
                        </a:spcBef>
                        <a:spcAft>
                          <a:spcPct val="0"/>
                        </a:spcAft>
                        <a:buClr>
                          <a:srgbClr val="00A0C6"/>
                        </a:buClr>
                        <a:buSzTx/>
                        <a:buFont typeface="Wingdings" pitchFamily="2" charset="2"/>
                        <a:buNone/>
                        <a:tabLst>
                          <a:tab pos="1082675" algn="l"/>
                          <a:tab pos="1616075" algn="l"/>
                          <a:tab pos="2149475" algn="l"/>
                          <a:tab pos="8077200" algn="r"/>
                        </a:tabLst>
                        <a:defRPr/>
                      </a:pPr>
                      <a:r>
                        <a:rPr kumimoji="0" lang="en-US" sz="1700" b="0" i="0" u="none" strike="noStrike" kern="1200" cap="none" normalizeH="0" baseline="0" dirty="0">
                          <a:ln>
                            <a:noFill/>
                          </a:ln>
                          <a:solidFill>
                            <a:srgbClr val="0B3A8B"/>
                          </a:solidFill>
                          <a:effectLst/>
                          <a:latin typeface="Arial" charset="0"/>
                          <a:ea typeface="+mn-ea"/>
                          <a:cs typeface="+mn-cs"/>
                        </a:rPr>
                        <a:t>Rubylyn Tantoy  </a:t>
                      </a:r>
                      <a:r>
                        <a:rPr kumimoji="0" lang="en-US" sz="1700" b="0" i="0" u="none" strike="noStrike" kern="1200" cap="none" normalizeH="0" baseline="0" dirty="0">
                          <a:ln>
                            <a:noFill/>
                          </a:ln>
                          <a:solidFill>
                            <a:srgbClr val="0B3A8B"/>
                          </a:solidFill>
                          <a:effectLst/>
                          <a:latin typeface="Arial" charset="0"/>
                          <a:ea typeface="+mn-ea"/>
                          <a:cs typeface="+mn-cs"/>
                          <a:hlinkClick r:id="rId7"/>
                        </a:rPr>
                        <a:t>Rubylyn.Tantoy@sodexo.com</a:t>
                      </a:r>
                      <a:r>
                        <a:rPr kumimoji="0" lang="en-US" sz="1700" b="0" i="0" u="none" strike="noStrike" kern="1200" cap="none" normalizeH="0" baseline="0" dirty="0">
                          <a:ln>
                            <a:noFill/>
                          </a:ln>
                          <a:solidFill>
                            <a:srgbClr val="0B3A8B"/>
                          </a:solidFill>
                          <a:effectLst/>
                          <a:latin typeface="Arial" charset="0"/>
                          <a:ea typeface="+mn-ea"/>
                          <a:cs typeface="+mn-cs"/>
                        </a:rPr>
                        <a:t> </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0532655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09E1D-6BB0-C773-22B6-00F2D5AEF55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CE9560A-98D5-9EEA-8F55-AF63A16540C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3"/>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2800" dirty="0">
                <a:latin typeface="+mn-lt"/>
                <a:ea typeface="+mn-ea"/>
                <a:cs typeface="+mn-cs"/>
              </a:rPr>
              <a:t>NorAm Site Audit Program</a:t>
            </a:r>
            <a:endParaRPr kumimoji="0" lang="en-US" sz="32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Footer Placeholder 3">
            <a:extLst>
              <a:ext uri="{FF2B5EF4-FFF2-40B4-BE49-F238E27FC236}">
                <a16:creationId xmlns:a16="http://schemas.microsoft.com/office/drawing/2014/main" id="{7BB674C4-C1D4-E705-70B3-2B4D76947EFF}"/>
              </a:ext>
            </a:extLst>
          </p:cNvPr>
          <p:cNvSpPr>
            <a:spLocks noGrp="1"/>
          </p:cNvSpPr>
          <p:nvPr>
            <p:ph type="ftr" sz="quarter" idx="6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9880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881942-8169-1B82-EE15-9210F19A7818}"/>
              </a:ext>
            </a:extLst>
          </p:cNvPr>
          <p:cNvSpPr>
            <a:spLocks noGrp="1"/>
          </p:cNvSpPr>
          <p:nvPr>
            <p:ph type="ftr"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2A295C"/>
                </a:solidFill>
                <a:effectLst/>
                <a:uLnTx/>
                <a:uFillTx/>
                <a:latin typeface="Arial" panose="020B0604020202020204"/>
                <a:ea typeface="+mn-ea"/>
                <a:cs typeface="+mn-cs"/>
              </a:rPr>
              <a:t>Unit Controller Call Series © Sodexo, July 2024.  All rights Reserved</a:t>
            </a:r>
            <a:endParaRPr kumimoji="0" lang="fr-FR" sz="750" b="1" i="0" u="none" strike="noStrike" kern="1200" cap="none" spc="0" normalizeH="0" baseline="0" noProof="0" dirty="0">
              <a:ln>
                <a:noFill/>
              </a:ln>
              <a:solidFill>
                <a:srgbClr val="2A295C"/>
              </a:solidFill>
              <a:effectLst/>
              <a:uLnTx/>
              <a:uFillTx/>
              <a:latin typeface="Arial" panose="020B0604020202020204"/>
              <a:ea typeface="+mn-ea"/>
              <a:cs typeface="+mn-cs"/>
            </a:endParaRPr>
          </a:p>
        </p:txBody>
      </p:sp>
      <p:sp>
        <p:nvSpPr>
          <p:cNvPr id="4" name="Subtitle 3">
            <a:extLst>
              <a:ext uri="{FF2B5EF4-FFF2-40B4-BE49-F238E27FC236}">
                <a16:creationId xmlns:a16="http://schemas.microsoft.com/office/drawing/2014/main" id="{1113CC18-57ED-856B-2ECC-D3C76D056597}"/>
              </a:ext>
            </a:extLst>
          </p:cNvPr>
          <p:cNvSpPr>
            <a:spLocks noGrp="1"/>
          </p:cNvSpPr>
          <p:nvPr>
            <p:ph type="subTitle" idx="1"/>
          </p:nvPr>
        </p:nvSpPr>
        <p:spPr>
          <a:xfrm>
            <a:off x="443280" y="850804"/>
            <a:ext cx="10515600" cy="358496"/>
          </a:xfrm>
        </p:spPr>
        <p:txBody>
          <a:bodyPr/>
          <a:lstStyle/>
          <a:p>
            <a:r>
              <a:rPr lang="en-US" dirty="0"/>
              <a:t>Summary</a:t>
            </a:r>
          </a:p>
        </p:txBody>
      </p:sp>
      <p:sp>
        <p:nvSpPr>
          <p:cNvPr id="5" name="Title 4">
            <a:extLst>
              <a:ext uri="{FF2B5EF4-FFF2-40B4-BE49-F238E27FC236}">
                <a16:creationId xmlns:a16="http://schemas.microsoft.com/office/drawing/2014/main" id="{23FBFC8C-F218-1E44-C115-295B5B71F065}"/>
              </a:ext>
            </a:extLst>
          </p:cNvPr>
          <p:cNvSpPr>
            <a:spLocks noGrp="1"/>
          </p:cNvSpPr>
          <p:nvPr>
            <p:ph type="title"/>
          </p:nvPr>
        </p:nvSpPr>
        <p:spPr/>
        <p:txBody>
          <a:bodyPr/>
          <a:lstStyle/>
          <a:p>
            <a:r>
              <a:rPr lang="en-US" dirty="0"/>
              <a:t>NorAm Site Audit Program – Internal Controls</a:t>
            </a:r>
          </a:p>
        </p:txBody>
      </p:sp>
      <p:sp>
        <p:nvSpPr>
          <p:cNvPr id="7" name="TextBox 6">
            <a:extLst>
              <a:ext uri="{FF2B5EF4-FFF2-40B4-BE49-F238E27FC236}">
                <a16:creationId xmlns:a16="http://schemas.microsoft.com/office/drawing/2014/main" id="{875C1211-8F51-B284-D364-A41F0455BB77}"/>
              </a:ext>
            </a:extLst>
          </p:cNvPr>
          <p:cNvSpPr txBox="1"/>
          <p:nvPr/>
        </p:nvSpPr>
        <p:spPr>
          <a:xfrm>
            <a:off x="331940" y="1396479"/>
            <a:ext cx="4412320" cy="46166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EF661A"/>
                </a:solidFill>
                <a:effectLst/>
                <a:uLnTx/>
                <a:uFillTx/>
                <a:latin typeface="Arial" panose="020B0604020202020204"/>
                <a:ea typeface="+mn-ea"/>
                <a:cs typeface="+mn-cs"/>
              </a:rPr>
              <a:t>On-Site Audits starting soon</a:t>
            </a:r>
          </a:p>
        </p:txBody>
      </p:sp>
      <p:sp>
        <p:nvSpPr>
          <p:cNvPr id="9" name="TextBox 8">
            <a:extLst>
              <a:ext uri="{FF2B5EF4-FFF2-40B4-BE49-F238E27FC236}">
                <a16:creationId xmlns:a16="http://schemas.microsoft.com/office/drawing/2014/main" id="{F577A2E4-6F7D-86F4-6496-2B5C817EA4B7}"/>
              </a:ext>
            </a:extLst>
          </p:cNvPr>
          <p:cNvSpPr txBox="1"/>
          <p:nvPr/>
        </p:nvSpPr>
        <p:spPr>
          <a:xfrm>
            <a:off x="5424958" y="2197789"/>
            <a:ext cx="6519346" cy="4170372"/>
          </a:xfrm>
          <a:prstGeom prst="rect">
            <a:avLst/>
          </a:prstGeom>
          <a:noFill/>
          <a:ln>
            <a:solidFill>
              <a:srgbClr val="25359C"/>
            </a:solidFill>
          </a:ln>
        </p:spPr>
        <p:txBody>
          <a:bodyPr wrap="square">
            <a:spAutoFit/>
          </a:bodyPr>
          <a:lstStyle/>
          <a:p>
            <a:pPr marL="228600" marR="0" lvl="0" indent="-228600" algn="l" defTabSz="60958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25359C"/>
                </a:solidFill>
                <a:effectLst/>
                <a:uLnTx/>
                <a:uFillTx/>
                <a:latin typeface="Arial" panose="020B0604020202020204"/>
                <a:ea typeface="+mn-ea"/>
                <a:cs typeface="+mn-cs"/>
              </a:rPr>
              <a:t>FY24:</a:t>
            </a:r>
            <a:r>
              <a:rPr kumimoji="0" lang="en-US" sz="1600" b="0" i="0" u="none" strike="noStrike" kern="1200" cap="none" spc="0" normalizeH="0" baseline="0" noProof="0" dirty="0">
                <a:ln>
                  <a:noFill/>
                </a:ln>
                <a:solidFill>
                  <a:srgbClr val="25359C"/>
                </a:solidFill>
                <a:effectLst/>
                <a:uLnTx/>
                <a:uFillTx/>
                <a:latin typeface="Arial" panose="020B0604020202020204"/>
                <a:ea typeface="+mn-ea"/>
                <a:cs typeface="+mn-cs"/>
              </a:rPr>
              <a:t> July / August – limited number of site audits</a:t>
            </a:r>
          </a:p>
          <a:p>
            <a:pPr marL="228600" marR="0" lvl="0" indent="-228600" algn="l" defTabSz="60958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25359C"/>
                </a:solidFill>
                <a:effectLst/>
                <a:uLnTx/>
                <a:uFillTx/>
                <a:latin typeface="Arial" panose="020B0604020202020204"/>
                <a:ea typeface="+mn-ea"/>
                <a:cs typeface="+mn-cs"/>
              </a:rPr>
              <a:t>FY25:</a:t>
            </a:r>
            <a:r>
              <a:rPr kumimoji="0" lang="en-US" sz="1600" b="0" i="0" u="none" strike="noStrike" kern="1200" cap="none" spc="0" normalizeH="0" baseline="0" noProof="0" dirty="0">
                <a:ln>
                  <a:noFill/>
                </a:ln>
                <a:solidFill>
                  <a:srgbClr val="25359C"/>
                </a:solidFill>
                <a:effectLst/>
                <a:uLnTx/>
                <a:uFillTx/>
                <a:latin typeface="Arial" panose="020B0604020202020204"/>
                <a:ea typeface="+mn-ea"/>
                <a:cs typeface="+mn-cs"/>
              </a:rPr>
              <a:t> Full program starting September 2024</a:t>
            </a:r>
          </a:p>
          <a:p>
            <a:pPr marL="228600" marR="0" lvl="0" indent="-228600" algn="l" defTabSz="60958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5359C"/>
                </a:solidFill>
                <a:effectLst/>
                <a:uLnTx/>
                <a:uFillTx/>
                <a:latin typeface="Arial" panose="020B0604020202020204"/>
                <a:ea typeface="+mn-ea"/>
                <a:cs typeface="+mn-cs"/>
              </a:rPr>
              <a:t>Units (DM/GM) will be notified via email at least 2 weeks in advance </a:t>
            </a:r>
          </a:p>
          <a:p>
            <a:pPr marL="228600" marR="0" lvl="0" indent="-2286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5359C"/>
                </a:solidFill>
                <a:effectLst/>
                <a:uLnTx/>
                <a:uFillTx/>
                <a:latin typeface="Arial" panose="020B0604020202020204"/>
                <a:ea typeface="+mn-ea"/>
                <a:cs typeface="+mn-cs"/>
              </a:rPr>
              <a:t>Full-scope Site Audits to include (but not limited to)</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Contract Management</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Purchasing and Inventory</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HR/Payroll</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Cash</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Accounts Receivable</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Accounts Payable</a:t>
            </a:r>
          </a:p>
          <a:p>
            <a:pPr marL="571500" marR="0" lvl="1"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Fixed Assets</a:t>
            </a:r>
          </a:p>
          <a:p>
            <a:pPr marL="571500" marR="0" lvl="1" indent="-285750" algn="l" defTabSz="74295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5359C"/>
                </a:solidFill>
                <a:effectLst/>
                <a:uLnTx/>
                <a:uFillTx/>
                <a:latin typeface="Arial" panose="020B0604020202020204"/>
                <a:ea typeface="+mn-ea"/>
                <a:cs typeface="+mn-cs"/>
              </a:rPr>
              <a:t>Legal &amp; Regulatory</a:t>
            </a:r>
          </a:p>
          <a:p>
            <a:pPr marL="228600" marR="0" lvl="0" indent="-228600" algn="l" defTabSz="60958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5359C"/>
                </a:solidFill>
                <a:effectLst/>
                <a:uLnTx/>
                <a:uFillTx/>
                <a:latin typeface="Arial" panose="020B0604020202020204"/>
                <a:ea typeface="+mn-ea"/>
                <a:cs typeface="+mn-cs"/>
              </a:rPr>
              <a:t>Site Audit Reports will be issued and communicated to the relevant stakeholders</a:t>
            </a:r>
          </a:p>
          <a:p>
            <a:pPr marL="228600" marR="0" lvl="0" indent="-22860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5359C"/>
                </a:solidFill>
                <a:effectLst/>
                <a:uLnTx/>
                <a:uFillTx/>
                <a:latin typeface="Arial" panose="020B0604020202020204"/>
                <a:ea typeface="+mn-ea"/>
                <a:cs typeface="+mn-cs"/>
              </a:rPr>
              <a:t>Limited scope or themed audit with specific scope may be performed depending on common or recurring issues or trends</a:t>
            </a:r>
          </a:p>
        </p:txBody>
      </p:sp>
      <p:grpSp>
        <p:nvGrpSpPr>
          <p:cNvPr id="40" name="Group 39">
            <a:extLst>
              <a:ext uri="{FF2B5EF4-FFF2-40B4-BE49-F238E27FC236}">
                <a16:creationId xmlns:a16="http://schemas.microsoft.com/office/drawing/2014/main" id="{DF22A73F-D893-DABB-57BE-6E0E42D87F17}"/>
              </a:ext>
            </a:extLst>
          </p:cNvPr>
          <p:cNvGrpSpPr/>
          <p:nvPr/>
        </p:nvGrpSpPr>
        <p:grpSpPr>
          <a:xfrm>
            <a:off x="343214" y="2438183"/>
            <a:ext cx="4916335" cy="1013525"/>
            <a:chOff x="350166" y="2819386"/>
            <a:chExt cx="5189843" cy="1013525"/>
          </a:xfrm>
        </p:grpSpPr>
        <p:sp>
          <p:nvSpPr>
            <p:cNvPr id="8" name="Rectangle: Rounded Corners 7">
              <a:extLst>
                <a:ext uri="{FF2B5EF4-FFF2-40B4-BE49-F238E27FC236}">
                  <a16:creationId xmlns:a16="http://schemas.microsoft.com/office/drawing/2014/main" id="{8DC03ED3-2350-CEB0-DCE8-F14E9EAADAED}"/>
                </a:ext>
              </a:extLst>
            </p:cNvPr>
            <p:cNvSpPr/>
            <p:nvPr/>
          </p:nvSpPr>
          <p:spPr>
            <a:xfrm>
              <a:off x="350166" y="2819386"/>
              <a:ext cx="5189843" cy="1013525"/>
            </a:xfrm>
            <a:prstGeom prst="roundRect">
              <a:avLst>
                <a:gd name="adj" fmla="val 10000"/>
              </a:avLst>
            </a:prstGeom>
            <a:solidFill>
              <a:srgbClr val="25359C">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Rectangle: Rounded Corners 4">
              <a:extLst>
                <a:ext uri="{FF2B5EF4-FFF2-40B4-BE49-F238E27FC236}">
                  <a16:creationId xmlns:a16="http://schemas.microsoft.com/office/drawing/2014/main" id="{B76B4ECB-78C0-C174-CFAB-C87386DDAF64}"/>
                </a:ext>
              </a:extLst>
            </p:cNvPr>
            <p:cNvSpPr txBox="1"/>
            <p:nvPr/>
          </p:nvSpPr>
          <p:spPr>
            <a:xfrm>
              <a:off x="1500811" y="2819386"/>
              <a:ext cx="4039197" cy="1013525"/>
            </a:xfrm>
            <a:prstGeom prst="rect">
              <a:avLst/>
            </a:prstGeom>
            <a:noFill/>
            <a:ln>
              <a:noFill/>
            </a:ln>
            <a:effectLst/>
          </p:spPr>
          <p:txBody>
            <a:bodyPr spcFirstLastPara="0" vert="horz" wrap="square" lIns="68580" tIns="68580" rIns="68580" bIns="68580"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sysClr val="window" lastClr="FFFFFF"/>
                  </a:solidFill>
                  <a:effectLst/>
                  <a:uLnTx/>
                  <a:uFillTx/>
                  <a:latin typeface="Arial" panose="020B0604020202020204"/>
                  <a:ea typeface="+mn-ea"/>
                  <a:cs typeface="+mn-cs"/>
                </a:rPr>
                <a:t>Evaluate whether internal controls around contract management and key processes are in place and operating effectively at the unit</a:t>
              </a:r>
            </a:p>
          </p:txBody>
        </p:sp>
        <p:sp>
          <p:nvSpPr>
            <p:cNvPr id="11" name="Rectangle: Rounded Corners 10" descr="Clipboard Mixed with solid fill">
              <a:extLst>
                <a:ext uri="{FF2B5EF4-FFF2-40B4-BE49-F238E27FC236}">
                  <a16:creationId xmlns:a16="http://schemas.microsoft.com/office/drawing/2014/main" id="{A6828E32-7F8E-A67F-ECB2-6349B090B1CF}"/>
                </a:ext>
              </a:extLst>
            </p:cNvPr>
            <p:cNvSpPr/>
            <p:nvPr/>
          </p:nvSpPr>
          <p:spPr>
            <a:xfrm>
              <a:off x="451197" y="2924175"/>
              <a:ext cx="958504" cy="811298"/>
            </a:xfrm>
            <a:prstGeom prst="roundRect">
              <a:avLst>
                <a:gd name="adj" fmla="val 10000"/>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hueOff val="0"/>
                    <a:satOff val="0"/>
                    <a:lumOff val="0"/>
                    <a:alphaOff val="0"/>
                  </a:prstClr>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8F244D0B-6AB1-521D-73D5-12BA667F4985}"/>
              </a:ext>
            </a:extLst>
          </p:cNvPr>
          <p:cNvGrpSpPr/>
          <p:nvPr/>
        </p:nvGrpSpPr>
        <p:grpSpPr>
          <a:xfrm>
            <a:off x="313896" y="4830387"/>
            <a:ext cx="4934379" cy="1206693"/>
            <a:chOff x="-38486" y="2673063"/>
            <a:chExt cx="6637547" cy="1441080"/>
          </a:xfrm>
        </p:grpSpPr>
        <p:sp>
          <p:nvSpPr>
            <p:cNvPr id="28" name="Rectangle: Rounded Corners 27">
              <a:extLst>
                <a:ext uri="{FF2B5EF4-FFF2-40B4-BE49-F238E27FC236}">
                  <a16:creationId xmlns:a16="http://schemas.microsoft.com/office/drawing/2014/main" id="{01B1DF8B-D471-0472-9057-F62824F6334C}"/>
                </a:ext>
              </a:extLst>
            </p:cNvPr>
            <p:cNvSpPr/>
            <p:nvPr/>
          </p:nvSpPr>
          <p:spPr>
            <a:xfrm>
              <a:off x="-38486" y="2673063"/>
              <a:ext cx="6637547" cy="1441080"/>
            </a:xfrm>
            <a:prstGeom prst="roundRect">
              <a:avLst>
                <a:gd name="adj" fmla="val 10000"/>
              </a:avLst>
            </a:prstGeom>
            <a:solidFill>
              <a:srgbClr val="25359C">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Rectangle: Rounded Corners 4">
              <a:extLst>
                <a:ext uri="{FF2B5EF4-FFF2-40B4-BE49-F238E27FC236}">
                  <a16:creationId xmlns:a16="http://schemas.microsoft.com/office/drawing/2014/main" id="{160C3022-2C70-8B57-7F1A-1D4C8D685B22}"/>
                </a:ext>
              </a:extLst>
            </p:cNvPr>
            <p:cNvSpPr txBox="1"/>
            <p:nvPr/>
          </p:nvSpPr>
          <p:spPr>
            <a:xfrm>
              <a:off x="1510639" y="2871183"/>
              <a:ext cx="5088422" cy="1066103"/>
            </a:xfrm>
            <a:prstGeom prst="rect">
              <a:avLst/>
            </a:prstGeom>
            <a:noFill/>
            <a:ln>
              <a:noFill/>
            </a:ln>
            <a:effectLst/>
          </p:spPr>
          <p:txBody>
            <a:bodyPr spcFirstLastPara="0" vert="horz" wrap="square" lIns="68580" tIns="68580" rIns="68580" bIns="68580"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ysClr val="window" lastClr="FFFFFF"/>
                  </a:solidFill>
                  <a:effectLst/>
                  <a:uLnTx/>
                  <a:uFillTx/>
                  <a:latin typeface="Arial" panose="020B0604020202020204"/>
                  <a:ea typeface="+mn-ea"/>
                  <a:cs typeface="+mn-cs"/>
                </a:rPr>
                <a:t>Recommend improvements on processes and internal control environment to remediate gaps, deficiencies and non-compliance noted</a:t>
              </a:r>
            </a:p>
          </p:txBody>
        </p:sp>
      </p:grpSp>
      <p:sp>
        <p:nvSpPr>
          <p:cNvPr id="30" name="Rectangle: Rounded Corners 29" descr="Lightbulb and gear with solid fill">
            <a:extLst>
              <a:ext uri="{FF2B5EF4-FFF2-40B4-BE49-F238E27FC236}">
                <a16:creationId xmlns:a16="http://schemas.microsoft.com/office/drawing/2014/main" id="{2D5546A0-7A04-C6E0-E9E5-5BA7675F6A31}"/>
              </a:ext>
            </a:extLst>
          </p:cNvPr>
          <p:cNvSpPr/>
          <p:nvPr/>
        </p:nvSpPr>
        <p:spPr>
          <a:xfrm>
            <a:off x="446563" y="5005790"/>
            <a:ext cx="956185" cy="892707"/>
          </a:xfrm>
          <a:prstGeom prst="roundRect">
            <a:avLst>
              <a:gd name="adj" fmla="val 10000"/>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10000" b="-10000"/>
            </a:stretch>
          </a:blip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1" name="Group 40">
            <a:extLst>
              <a:ext uri="{FF2B5EF4-FFF2-40B4-BE49-F238E27FC236}">
                <a16:creationId xmlns:a16="http://schemas.microsoft.com/office/drawing/2014/main" id="{E64FC3B6-9B67-FCB9-093C-4D01923CF8EC}"/>
              </a:ext>
            </a:extLst>
          </p:cNvPr>
          <p:cNvGrpSpPr/>
          <p:nvPr/>
        </p:nvGrpSpPr>
        <p:grpSpPr>
          <a:xfrm>
            <a:off x="331940" y="3608030"/>
            <a:ext cx="4916335" cy="1013525"/>
            <a:chOff x="326365" y="3728494"/>
            <a:chExt cx="5189842" cy="1036961"/>
          </a:xfrm>
        </p:grpSpPr>
        <p:sp>
          <p:nvSpPr>
            <p:cNvPr id="19" name="Rectangle: Rounded Corners 18">
              <a:extLst>
                <a:ext uri="{FF2B5EF4-FFF2-40B4-BE49-F238E27FC236}">
                  <a16:creationId xmlns:a16="http://schemas.microsoft.com/office/drawing/2014/main" id="{84314FBB-FA75-1941-E815-7F865CC585C5}"/>
                </a:ext>
              </a:extLst>
            </p:cNvPr>
            <p:cNvSpPr/>
            <p:nvPr/>
          </p:nvSpPr>
          <p:spPr>
            <a:xfrm>
              <a:off x="326365" y="3728494"/>
              <a:ext cx="5189842" cy="1036961"/>
            </a:xfrm>
            <a:prstGeom prst="roundRect">
              <a:avLst>
                <a:gd name="adj" fmla="val 10000"/>
              </a:avLst>
            </a:prstGeom>
            <a:solidFill>
              <a:srgbClr val="25359C">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Rectangle: Rounded Corners 4">
              <a:extLst>
                <a:ext uri="{FF2B5EF4-FFF2-40B4-BE49-F238E27FC236}">
                  <a16:creationId xmlns:a16="http://schemas.microsoft.com/office/drawing/2014/main" id="{750C6627-51BA-D910-ACEA-793B61DDD2DF}"/>
                </a:ext>
              </a:extLst>
            </p:cNvPr>
            <p:cNvSpPr txBox="1"/>
            <p:nvPr/>
          </p:nvSpPr>
          <p:spPr>
            <a:xfrm>
              <a:off x="1477011" y="3728494"/>
              <a:ext cx="4015778" cy="1036961"/>
            </a:xfrm>
            <a:prstGeom prst="rect">
              <a:avLst/>
            </a:prstGeom>
            <a:noFill/>
            <a:ln>
              <a:noFill/>
            </a:ln>
            <a:effectLst/>
          </p:spPr>
          <p:txBody>
            <a:bodyPr spcFirstLastPara="0" vert="horz" wrap="square" lIns="68580" tIns="68580" rIns="68580" bIns="68580"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ysClr val="window" lastClr="FFFFFF"/>
                  </a:solidFill>
                  <a:effectLst/>
                  <a:uLnTx/>
                  <a:uFillTx/>
                  <a:latin typeface="Arial" panose="020B0604020202020204"/>
                  <a:ea typeface="+mn-ea"/>
                  <a:cs typeface="+mn-cs"/>
                </a:rPr>
                <a:t>Verify compliance with applicable policies &amp; procedures, and standard business practices</a:t>
              </a:r>
            </a:p>
          </p:txBody>
        </p:sp>
        <p:sp>
          <p:nvSpPr>
            <p:cNvPr id="31" name="Rectangle: Rounded Corners 30" descr="Speedometer Low with solid fill">
              <a:extLst>
                <a:ext uri="{FF2B5EF4-FFF2-40B4-BE49-F238E27FC236}">
                  <a16:creationId xmlns:a16="http://schemas.microsoft.com/office/drawing/2014/main" id="{EECF3D5C-90F3-F7A6-F9AC-0FA1A32F9DBF}"/>
                </a:ext>
              </a:extLst>
            </p:cNvPr>
            <p:cNvSpPr/>
            <p:nvPr/>
          </p:nvSpPr>
          <p:spPr>
            <a:xfrm>
              <a:off x="439432" y="3861365"/>
              <a:ext cx="963317" cy="771221"/>
            </a:xfrm>
            <a:prstGeom prst="roundRect">
              <a:avLst>
                <a:gd name="adj" fmla="val 10000"/>
              </a:avLst>
            </a:prstGeom>
            <a:blipFill>
              <a:blip r:embed="rId7">
                <a:extLst>
                  <a:ext uri="{96DAC541-7B7A-43D3-8B79-37D633B846F1}">
                    <asvg:svgBlip xmlns:asvg="http://schemas.microsoft.com/office/drawing/2016/SVG/main" r:embed="rId8"/>
                  </a:ext>
                </a:extLst>
              </a:blip>
              <a:srcRect/>
              <a:stretch>
                <a:fillRect t="-10000" b="-10000"/>
              </a:stretch>
            </a:blip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7" name="TextBox 36">
            <a:extLst>
              <a:ext uri="{FF2B5EF4-FFF2-40B4-BE49-F238E27FC236}">
                <a16:creationId xmlns:a16="http://schemas.microsoft.com/office/drawing/2014/main" id="{072B7727-2281-F308-77EE-83A0510F9633}"/>
              </a:ext>
            </a:extLst>
          </p:cNvPr>
          <p:cNvSpPr txBox="1"/>
          <p:nvPr/>
        </p:nvSpPr>
        <p:spPr>
          <a:xfrm>
            <a:off x="313896" y="2027758"/>
            <a:ext cx="2977944" cy="36933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5359C"/>
                </a:solidFill>
                <a:effectLst/>
                <a:uLnTx/>
                <a:uFillTx/>
                <a:latin typeface="Arial" panose="020B0604020202020204"/>
                <a:ea typeface="+mn-ea"/>
                <a:cs typeface="+mn-cs"/>
              </a:rPr>
              <a:t>Site Audit Objectives</a:t>
            </a:r>
          </a:p>
        </p:txBody>
      </p:sp>
      <p:pic>
        <p:nvPicPr>
          <p:cNvPr id="39" name="Picture 38">
            <a:extLst>
              <a:ext uri="{FF2B5EF4-FFF2-40B4-BE49-F238E27FC236}">
                <a16:creationId xmlns:a16="http://schemas.microsoft.com/office/drawing/2014/main" id="{EC29FD17-D207-64F0-D2A8-C312D38EC149}"/>
              </a:ext>
            </a:extLst>
          </p:cNvPr>
          <p:cNvPicPr>
            <a:picLocks noChangeAspect="1"/>
          </p:cNvPicPr>
          <p:nvPr/>
        </p:nvPicPr>
        <p:blipFill>
          <a:blip r:embed="rId9"/>
          <a:stretch>
            <a:fillRect/>
          </a:stretch>
        </p:blipFill>
        <p:spPr>
          <a:xfrm>
            <a:off x="5424958" y="1543050"/>
            <a:ext cx="6519346" cy="536661"/>
          </a:xfrm>
          <a:prstGeom prst="rect">
            <a:avLst/>
          </a:prstGeom>
        </p:spPr>
      </p:pic>
    </p:spTree>
    <p:extLst>
      <p:ext uri="{BB962C8B-B14F-4D97-AF65-F5344CB8AC3E}">
        <p14:creationId xmlns:p14="http://schemas.microsoft.com/office/powerpoint/2010/main" val="169011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0A59C-CBBB-4671-BB51-1F4E1C11F7CA}"/>
              </a:ext>
            </a:extLst>
          </p:cNvPr>
          <p:cNvSpPr>
            <a:spLocks noGrp="1"/>
          </p:cNvSpPr>
          <p:nvPr>
            <p:ph type="title" idx="4294967295"/>
          </p:nvPr>
        </p:nvSpPr>
        <p:spPr>
          <a:xfrm>
            <a:off x="443280" y="-346249"/>
            <a:ext cx="10515600" cy="346249"/>
          </a:xfrm>
        </p:spPr>
        <p:txBody>
          <a:bodyPr vert="horz" lIns="0" tIns="0" rIns="0" bIns="0" rtlCol="0" anchor="b">
            <a:spAutoFit/>
          </a:bodyPr>
          <a:lstStyle/>
          <a:p>
            <a:r>
              <a:rPr lang="en-US" dirty="0"/>
              <a:t>Questions</a:t>
            </a:r>
          </a:p>
        </p:txBody>
      </p:sp>
      <p:pic>
        <p:nvPicPr>
          <p:cNvPr id="4" name="Picture 3" descr="Question marks">
            <a:extLst>
              <a:ext uri="{FF2B5EF4-FFF2-40B4-BE49-F238E27FC236}">
                <a16:creationId xmlns:a16="http://schemas.microsoft.com/office/drawing/2014/main" id="{113D906A-05EA-499A-B88A-AFCEECE14B93}"/>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4256951" y="2049713"/>
            <a:ext cx="3678097" cy="2758573"/>
          </a:xfrm>
          <a:prstGeom prst="rect">
            <a:avLst/>
          </a:prstGeom>
        </p:spPr>
      </p:pic>
    </p:spTree>
    <p:extLst>
      <p:ext uri="{BB962C8B-B14F-4D97-AF65-F5344CB8AC3E}">
        <p14:creationId xmlns:p14="http://schemas.microsoft.com/office/powerpoint/2010/main" val="351844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09E1D-6BB0-C773-22B6-00F2D5AEF55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CE9560A-98D5-9EEA-8F55-AF63A16540C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3"/>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chemeClr val="accent1"/>
                </a:solidFill>
                <a:effectLst/>
                <a:uLnTx/>
                <a:uFillTx/>
                <a:latin typeface="+mn-lt"/>
                <a:ea typeface="+mn-ea"/>
                <a:cs typeface="+mn-cs"/>
              </a:rPr>
              <a:t>Identity Access Management Forms (SoUnified)</a:t>
            </a:r>
            <a:endParaRPr kumimoji="0" lang="en-US" sz="37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Footer Placeholder 3">
            <a:extLst>
              <a:ext uri="{FF2B5EF4-FFF2-40B4-BE49-F238E27FC236}">
                <a16:creationId xmlns:a16="http://schemas.microsoft.com/office/drawing/2014/main" id="{7BB674C4-C1D4-E705-70B3-2B4D76947EFF}"/>
              </a:ext>
            </a:extLst>
          </p:cNvPr>
          <p:cNvSpPr>
            <a:spLocks noGrp="1"/>
          </p:cNvSpPr>
          <p:nvPr>
            <p:ph type="ftr" sz="quarter" idx="6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1DA80A07-7441-C132-F6C7-F710DAA91247}"/>
              </a:ext>
            </a:extLst>
          </p:cNvPr>
          <p:cNvSpPr/>
          <p:nvPr/>
        </p:nvSpPr>
        <p:spPr>
          <a:xfrm>
            <a:off x="5601736" y="748863"/>
            <a:ext cx="5840060" cy="1754326"/>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5400" b="1" dirty="0">
                <a:ln/>
                <a:solidFill>
                  <a:schemeClr val="accent3"/>
                </a:solidFill>
              </a:rPr>
              <a:t>New process</a:t>
            </a:r>
          </a:p>
          <a:p>
            <a:pPr algn="ctr"/>
            <a:r>
              <a:rPr lang="en-US" sz="5400" b="1" dirty="0">
                <a:ln/>
                <a:solidFill>
                  <a:schemeClr val="accent3"/>
                </a:solidFill>
              </a:rPr>
              <a:t>Effective June 21</a:t>
            </a:r>
            <a:endParaRPr lang="en-US" sz="5400" b="1" cap="none" spc="0" dirty="0">
              <a:ln/>
              <a:solidFill>
                <a:schemeClr val="accent3"/>
              </a:solidFill>
              <a:effectLst/>
            </a:endParaRPr>
          </a:p>
        </p:txBody>
      </p:sp>
    </p:spTree>
    <p:extLst>
      <p:ext uri="{BB962C8B-B14F-4D97-AF65-F5344CB8AC3E}">
        <p14:creationId xmlns:p14="http://schemas.microsoft.com/office/powerpoint/2010/main" val="770066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FA47D6D-A3EC-3194-CA91-3496BD431811}"/>
              </a:ext>
            </a:extLst>
          </p:cNvPr>
          <p:cNvSpPr txBox="1"/>
          <p:nvPr/>
        </p:nvSpPr>
        <p:spPr>
          <a:xfrm>
            <a:off x="913379" y="542248"/>
            <a:ext cx="10365241" cy="523220"/>
          </a:xfrm>
          <a:prstGeom prst="rect">
            <a:avLst/>
          </a:prstGeom>
          <a:noFill/>
        </p:spPr>
        <p:txBody>
          <a:bodyPr wrap="square">
            <a:spAutoFit/>
          </a:bodyPr>
          <a:lstStyle/>
          <a:p>
            <a:pPr algn="l"/>
            <a:r>
              <a:rPr lang="en-US" sz="2800" b="1" dirty="0">
                <a:solidFill>
                  <a:srgbClr val="2A295C"/>
                </a:solidFill>
                <a:effectLst/>
                <a:latin typeface="SansaPro-SemiBold" panose="02000000000000000000" pitchFamily="50" charset="0"/>
              </a:rPr>
              <a:t>Information Security Access Request Moving to </a:t>
            </a:r>
            <a:r>
              <a:rPr lang="en-US" sz="2800" b="1" dirty="0" err="1">
                <a:solidFill>
                  <a:srgbClr val="2A295C"/>
                </a:solidFill>
                <a:effectLst/>
                <a:latin typeface="SansaPro-SemiBold" panose="02000000000000000000" pitchFamily="50" charset="0"/>
              </a:rPr>
              <a:t>SoUnified</a:t>
            </a:r>
            <a:endParaRPr lang="en-US" sz="2800" b="1" dirty="0">
              <a:solidFill>
                <a:srgbClr val="2A295C"/>
              </a:solidFill>
              <a:effectLst/>
              <a:latin typeface="SansaPro-SemiBold" panose="02000000000000000000" pitchFamily="50" charset="0"/>
            </a:endParaRPr>
          </a:p>
        </p:txBody>
      </p:sp>
      <p:sp>
        <p:nvSpPr>
          <p:cNvPr id="5" name="TextBox 4">
            <a:extLst>
              <a:ext uri="{FF2B5EF4-FFF2-40B4-BE49-F238E27FC236}">
                <a16:creationId xmlns:a16="http://schemas.microsoft.com/office/drawing/2014/main" id="{6B4007FE-E7D0-09B4-4EBB-A38C1E61D414}"/>
              </a:ext>
            </a:extLst>
          </p:cNvPr>
          <p:cNvSpPr txBox="1"/>
          <p:nvPr/>
        </p:nvSpPr>
        <p:spPr>
          <a:xfrm>
            <a:off x="913379" y="1307688"/>
            <a:ext cx="10907485" cy="3570208"/>
          </a:xfrm>
          <a:prstGeom prst="rect">
            <a:avLst/>
          </a:prstGeom>
          <a:noFill/>
        </p:spPr>
        <p:txBody>
          <a:bodyPr wrap="square">
            <a:spAutoFit/>
          </a:bodyPr>
          <a:lstStyle/>
          <a:p>
            <a:pPr algn="l"/>
            <a:r>
              <a:rPr lang="en-US" dirty="0">
                <a:solidFill>
                  <a:srgbClr val="000000"/>
                </a:solidFill>
                <a:highlight>
                  <a:srgbClr val="FFFFFF"/>
                </a:highlight>
                <a:latin typeface="Arial" panose="020B0604020202020204" pitchFamily="34" charset="0"/>
              </a:rPr>
              <a:t>Effective June 21,</a:t>
            </a:r>
            <a:r>
              <a:rPr lang="en-US" b="0" i="0" dirty="0">
                <a:solidFill>
                  <a:srgbClr val="000000"/>
                </a:solidFill>
                <a:effectLst/>
                <a:highlight>
                  <a:srgbClr val="FFFFFF"/>
                </a:highlight>
                <a:latin typeface="Arial" panose="020B0604020202020204" pitchFamily="34" charset="0"/>
              </a:rPr>
              <a:t> all </a:t>
            </a:r>
            <a:r>
              <a:rPr lang="en-US" b="0" i="0" u="none" strike="noStrike" dirty="0">
                <a:solidFill>
                  <a:srgbClr val="283897"/>
                </a:solidFill>
                <a:effectLst/>
                <a:highlight>
                  <a:srgbClr val="FFFFFF"/>
                </a:highlight>
                <a:latin typeface="Arial" panose="020B0604020202020204" pitchFamily="34" charset="0"/>
                <a:hlinkClick r:id="rId3" tooltip="Opens in new window"/>
              </a:rPr>
              <a:t>information security access requests must be submitted through </a:t>
            </a:r>
            <a:r>
              <a:rPr lang="en-US" b="0" i="0" u="none" strike="noStrike" dirty="0" err="1">
                <a:solidFill>
                  <a:srgbClr val="283897"/>
                </a:solidFill>
                <a:effectLst/>
                <a:highlight>
                  <a:srgbClr val="FFFFFF"/>
                </a:highlight>
                <a:latin typeface="Arial" panose="020B0604020202020204" pitchFamily="34" charset="0"/>
                <a:hlinkClick r:id="rId3" tooltip="Opens in new window"/>
              </a:rPr>
              <a:t>SoUnified</a:t>
            </a:r>
            <a:r>
              <a:rPr lang="en-US" b="0" i="0" dirty="0">
                <a:solidFill>
                  <a:srgbClr val="000000"/>
                </a:solidFill>
                <a:effectLst/>
                <a:highlight>
                  <a:srgbClr val="FFFFFF"/>
                </a:highlight>
                <a:latin typeface="Arial" panose="020B0604020202020204" pitchFamily="34" charset="0"/>
              </a:rPr>
              <a:t>. You will use </a:t>
            </a:r>
            <a:r>
              <a:rPr lang="en-US" b="0" i="0" dirty="0" err="1">
                <a:solidFill>
                  <a:srgbClr val="000000"/>
                </a:solidFill>
                <a:effectLst/>
                <a:highlight>
                  <a:srgbClr val="FFFFFF"/>
                </a:highlight>
                <a:latin typeface="Arial" panose="020B0604020202020204" pitchFamily="34" charset="0"/>
              </a:rPr>
              <a:t>SoUnified</a:t>
            </a:r>
            <a:r>
              <a:rPr lang="en-US" b="0" i="0" dirty="0">
                <a:solidFill>
                  <a:srgbClr val="000000"/>
                </a:solidFill>
                <a:effectLst/>
                <a:highlight>
                  <a:srgbClr val="FFFFFF"/>
                </a:highlight>
                <a:latin typeface="Arial" panose="020B0604020202020204" pitchFamily="34" charset="0"/>
              </a:rPr>
              <a:t> to request employee access to </a:t>
            </a:r>
            <a:r>
              <a:rPr lang="en-US" b="0" i="0" dirty="0" err="1">
                <a:solidFill>
                  <a:srgbClr val="000000"/>
                </a:solidFill>
                <a:effectLst/>
                <a:highlight>
                  <a:srgbClr val="FFFFFF"/>
                </a:highlight>
                <a:latin typeface="Arial" panose="020B0604020202020204" pitchFamily="34" charset="0"/>
              </a:rPr>
              <a:t>Sodexo_Net</a:t>
            </a:r>
            <a:r>
              <a:rPr lang="en-US" b="0" i="0" dirty="0">
                <a:solidFill>
                  <a:srgbClr val="000000"/>
                </a:solidFill>
                <a:effectLst/>
                <a:highlight>
                  <a:srgbClr val="FFFFFF"/>
                </a:highlight>
                <a:latin typeface="Arial" panose="020B0604020202020204" pitchFamily="34" charset="0"/>
              </a:rPr>
              <a:t>, </a:t>
            </a:r>
            <a:r>
              <a:rPr lang="en-US" b="0" i="0" dirty="0" err="1">
                <a:solidFill>
                  <a:srgbClr val="000000"/>
                </a:solidFill>
                <a:effectLst/>
                <a:highlight>
                  <a:srgbClr val="FFFFFF"/>
                </a:highlight>
                <a:latin typeface="Arial" panose="020B0604020202020204" pitchFamily="34" charset="0"/>
              </a:rPr>
              <a:t>MySodexo</a:t>
            </a:r>
            <a:r>
              <a:rPr lang="en-US" b="0" i="0" dirty="0">
                <a:solidFill>
                  <a:srgbClr val="000000"/>
                </a:solidFill>
                <a:effectLst/>
                <a:highlight>
                  <a:srgbClr val="FFFFFF"/>
                </a:highlight>
                <a:latin typeface="Arial" panose="020B0604020202020204" pitchFamily="34" charset="0"/>
              </a:rPr>
              <a:t>, email and all other Sodexo applications previously requested through the Information Security Access Request Form.</a:t>
            </a:r>
          </a:p>
          <a:p>
            <a:pPr algn="l"/>
            <a:endParaRPr lang="en-US" b="1" dirty="0">
              <a:solidFill>
                <a:srgbClr val="2A295C"/>
              </a:solidFill>
              <a:effectLst/>
              <a:highlight>
                <a:srgbClr val="FFFFFF"/>
              </a:highlight>
              <a:latin typeface="SansaPro-SemiBold" panose="02000000000000000000" pitchFamily="50" charset="0"/>
            </a:endParaRPr>
          </a:p>
          <a:p>
            <a:pPr algn="l"/>
            <a:endParaRPr lang="en-US" b="1" dirty="0">
              <a:solidFill>
                <a:srgbClr val="2A295C"/>
              </a:solidFill>
              <a:highlight>
                <a:srgbClr val="FFFFFF"/>
              </a:highlight>
              <a:latin typeface="SansaPro-SemiBold" panose="02000000000000000000" pitchFamily="50" charset="0"/>
            </a:endParaRPr>
          </a:p>
          <a:p>
            <a:pPr algn="l"/>
            <a:r>
              <a:rPr lang="en-US" sz="2800" b="1" dirty="0">
                <a:solidFill>
                  <a:srgbClr val="2A295C"/>
                </a:solidFill>
                <a:effectLst/>
                <a:highlight>
                  <a:srgbClr val="FFFFFF"/>
                </a:highlight>
                <a:latin typeface="SansaPro-SemiBold" panose="02000000000000000000" pitchFamily="50" charset="0"/>
              </a:rPr>
              <a:t>Want to learn more?</a:t>
            </a:r>
          </a:p>
          <a:p>
            <a:pPr algn="l"/>
            <a:r>
              <a:rPr lang="en-US" b="0" i="0" dirty="0">
                <a:solidFill>
                  <a:srgbClr val="000000"/>
                </a:solidFill>
                <a:effectLst/>
                <a:highlight>
                  <a:srgbClr val="FFFFFF"/>
                </a:highlight>
                <a:latin typeface="Arial" panose="020B0604020202020204" pitchFamily="34" charset="0"/>
              </a:rPr>
              <a:t>Review these valuable resources for training:</a:t>
            </a:r>
          </a:p>
          <a:p>
            <a:pPr algn="l">
              <a:buFont typeface="Arial" panose="020B0604020202020204" pitchFamily="34" charset="0"/>
              <a:buChar char="•"/>
            </a:pPr>
            <a:r>
              <a:rPr lang="en-US" b="0" i="0" u="none" strike="noStrike" dirty="0" err="1">
                <a:solidFill>
                  <a:srgbClr val="283897"/>
                </a:solidFill>
                <a:effectLst/>
                <a:highlight>
                  <a:srgbClr val="FFFFFF"/>
                </a:highlight>
                <a:latin typeface="Arial" panose="020B0604020202020204" pitchFamily="34" charset="0"/>
                <a:hlinkClick r:id="rId4" tooltip="click to download"/>
              </a:rPr>
              <a:t>SoUnified</a:t>
            </a:r>
            <a:r>
              <a:rPr lang="en-US" b="0" i="0" u="none" strike="noStrike" dirty="0">
                <a:solidFill>
                  <a:srgbClr val="283897"/>
                </a:solidFill>
                <a:effectLst/>
                <a:highlight>
                  <a:srgbClr val="FFFFFF"/>
                </a:highlight>
                <a:latin typeface="Arial" panose="020B0604020202020204" pitchFamily="34" charset="0"/>
                <a:hlinkClick r:id="rId4" tooltip="click to download"/>
              </a:rPr>
              <a:t> – Access Request End User Training</a:t>
            </a:r>
            <a:r>
              <a:rPr lang="en-US" b="0" i="0" dirty="0">
                <a:solidFill>
                  <a:srgbClr val="000000"/>
                </a:solidFill>
                <a:effectLst/>
                <a:highlight>
                  <a:srgbClr val="FFFFFF"/>
                </a:highlight>
                <a:latin typeface="Arial" panose="020B0604020202020204" pitchFamily="34" charset="0"/>
              </a:rPr>
              <a:t> (PowerPoint)</a:t>
            </a:r>
          </a:p>
          <a:p>
            <a:pPr algn="l">
              <a:buFont typeface="Arial" panose="020B0604020202020204" pitchFamily="34" charset="0"/>
              <a:buChar char="•"/>
            </a:pPr>
            <a:r>
              <a:rPr lang="en-US" b="0" i="0" u="none" strike="noStrike" dirty="0" err="1">
                <a:solidFill>
                  <a:srgbClr val="283897"/>
                </a:solidFill>
                <a:effectLst/>
                <a:highlight>
                  <a:srgbClr val="FFFFFF"/>
                </a:highlight>
                <a:latin typeface="Arial" panose="020B0604020202020204" pitchFamily="34" charset="0"/>
                <a:hlinkClick r:id="rId5" tooltip="open in new tab"/>
              </a:rPr>
              <a:t>SoUnified</a:t>
            </a:r>
            <a:r>
              <a:rPr lang="en-US" b="0" i="0" u="none" strike="noStrike" dirty="0">
                <a:solidFill>
                  <a:srgbClr val="283897"/>
                </a:solidFill>
                <a:effectLst/>
                <a:highlight>
                  <a:srgbClr val="FFFFFF"/>
                </a:highlight>
                <a:latin typeface="Arial" panose="020B0604020202020204" pitchFamily="34" charset="0"/>
                <a:hlinkClick r:id="rId5" tooltip="open in new tab"/>
              </a:rPr>
              <a:t> Self-Service Portal Lunch &amp; Learn Meeting Recording</a:t>
            </a:r>
            <a:endParaRPr lang="en-US" b="0" i="0" dirty="0">
              <a:solidFill>
                <a:srgbClr val="000000"/>
              </a:solidFill>
              <a:effectLst/>
              <a:highlight>
                <a:srgbClr val="FFFFFF"/>
              </a:highlight>
              <a:latin typeface="Arial" panose="020B0604020202020204" pitchFamily="34" charset="0"/>
            </a:endParaRPr>
          </a:p>
          <a:p>
            <a:pPr algn="l">
              <a:buFont typeface="Arial" panose="020B0604020202020204" pitchFamily="34" charset="0"/>
              <a:buChar char="•"/>
            </a:pPr>
            <a:r>
              <a:rPr lang="en-US" b="0" i="0" u="none" strike="noStrike" dirty="0" err="1">
                <a:solidFill>
                  <a:srgbClr val="283897"/>
                </a:solidFill>
                <a:effectLst/>
                <a:highlight>
                  <a:srgbClr val="FFFFFF"/>
                </a:highlight>
                <a:latin typeface="Arial" panose="020B0604020202020204" pitchFamily="34" charset="0"/>
                <a:hlinkClick r:id="rId6" tooltip="open in new tab"/>
              </a:rPr>
              <a:t>SoUnified</a:t>
            </a:r>
            <a:r>
              <a:rPr lang="en-US" b="0" i="0" u="none" strike="noStrike" dirty="0">
                <a:solidFill>
                  <a:srgbClr val="283897"/>
                </a:solidFill>
                <a:effectLst/>
                <a:highlight>
                  <a:srgbClr val="FFFFFF"/>
                </a:highlight>
                <a:latin typeface="Arial" panose="020B0604020202020204" pitchFamily="34" charset="0"/>
                <a:hlinkClick r:id="rId6" tooltip="open in new tab"/>
              </a:rPr>
              <a:t> Training – Application Access Requests Meeting Recording</a:t>
            </a:r>
            <a:endParaRPr lang="en-US" b="0" i="0" dirty="0">
              <a:solidFill>
                <a:srgbClr val="000000"/>
              </a:solidFill>
              <a:effectLst/>
              <a:highlight>
                <a:srgbClr val="FFFFFF"/>
              </a:highlight>
              <a:latin typeface="Arial" panose="020B0604020202020204" pitchFamily="34" charset="0"/>
            </a:endParaRPr>
          </a:p>
          <a:p>
            <a:pPr algn="l">
              <a:buFont typeface="Arial" panose="020B0604020202020204" pitchFamily="34" charset="0"/>
              <a:buChar char="•"/>
            </a:pPr>
            <a:r>
              <a:rPr lang="en-US" b="0" i="0" u="none" strike="noStrike" dirty="0">
                <a:solidFill>
                  <a:srgbClr val="283897"/>
                </a:solidFill>
                <a:effectLst/>
                <a:highlight>
                  <a:srgbClr val="FFFFFF"/>
                </a:highlight>
                <a:latin typeface="Arial" panose="020B0604020202020204" pitchFamily="34" charset="0"/>
                <a:hlinkClick r:id="rId7" tooltip="open in new tab"/>
              </a:rPr>
              <a:t>Identity &amp; Access Management – End User Training Meeting Recording</a:t>
            </a:r>
            <a:endParaRPr lang="en-US" b="0" i="0" dirty="0">
              <a:solidFill>
                <a:srgbClr val="000000"/>
              </a:solidFill>
              <a:effectLst/>
              <a:highlight>
                <a:srgbClr val="FFFFFF"/>
              </a:highlight>
              <a:latin typeface="Arial" panose="020B0604020202020204" pitchFamily="34" charset="0"/>
            </a:endParaRPr>
          </a:p>
          <a:p>
            <a:pPr algn="l"/>
            <a:r>
              <a:rPr lang="en-US" b="0" i="0" dirty="0">
                <a:solidFill>
                  <a:srgbClr val="000000"/>
                </a:solidFill>
                <a:effectLst/>
                <a:highlight>
                  <a:srgbClr val="FFFFFF"/>
                </a:highlight>
                <a:latin typeface="Arial" panose="020B0604020202020204" pitchFamily="34" charset="0"/>
              </a:rPr>
              <a:t>Be sure to</a:t>
            </a:r>
            <a:r>
              <a:rPr lang="en-US" b="0" i="0" u="none" strike="noStrike" dirty="0">
                <a:solidFill>
                  <a:srgbClr val="283897"/>
                </a:solidFill>
                <a:effectLst/>
                <a:highlight>
                  <a:srgbClr val="FFFFFF"/>
                </a:highlight>
                <a:latin typeface="Arial" panose="020B0604020202020204" pitchFamily="34" charset="0"/>
                <a:hlinkClick r:id="rId8" tooltip="open in new tab"/>
              </a:rPr>
              <a:t> visit the </a:t>
            </a:r>
            <a:r>
              <a:rPr lang="en-US" b="0" i="0" u="none" strike="noStrike" dirty="0" err="1">
                <a:solidFill>
                  <a:srgbClr val="283897"/>
                </a:solidFill>
                <a:effectLst/>
                <a:highlight>
                  <a:srgbClr val="FFFFFF"/>
                </a:highlight>
                <a:latin typeface="Arial" panose="020B0604020202020204" pitchFamily="34" charset="0"/>
                <a:hlinkClick r:id="rId8" tooltip="open in new tab"/>
              </a:rPr>
              <a:t>SoUnified</a:t>
            </a:r>
            <a:r>
              <a:rPr lang="en-US" b="0" i="0" u="none" strike="noStrike" dirty="0">
                <a:solidFill>
                  <a:srgbClr val="283897"/>
                </a:solidFill>
                <a:effectLst/>
                <a:highlight>
                  <a:srgbClr val="FFFFFF"/>
                </a:highlight>
                <a:latin typeface="Arial" panose="020B0604020202020204" pitchFamily="34" charset="0"/>
                <a:hlinkClick r:id="rId8" tooltip="open in new tab"/>
              </a:rPr>
              <a:t> knowledgebase</a:t>
            </a:r>
            <a:r>
              <a:rPr lang="en-US" b="0" i="0" dirty="0">
                <a:solidFill>
                  <a:srgbClr val="000000"/>
                </a:solidFill>
                <a:effectLst/>
                <a:highlight>
                  <a:srgbClr val="FFFFFF"/>
                </a:highlight>
                <a:latin typeface="Arial" panose="020B0604020202020204" pitchFamily="34" charset="0"/>
              </a:rPr>
              <a:t> for specific application access user guides. </a:t>
            </a:r>
          </a:p>
        </p:txBody>
      </p:sp>
    </p:spTree>
    <p:extLst>
      <p:ext uri="{BB962C8B-B14F-4D97-AF65-F5344CB8AC3E}">
        <p14:creationId xmlns:p14="http://schemas.microsoft.com/office/powerpoint/2010/main" val="336578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D6517BB-0A99-1FCE-F93C-12047A45867F}"/>
              </a:ext>
            </a:extLst>
          </p:cNvPr>
          <p:cNvSpPr txBox="1"/>
          <p:nvPr/>
        </p:nvSpPr>
        <p:spPr>
          <a:xfrm>
            <a:off x="787173" y="167869"/>
            <a:ext cx="10617654" cy="523220"/>
          </a:xfrm>
          <a:prstGeom prst="rect">
            <a:avLst/>
          </a:prstGeom>
          <a:noFill/>
        </p:spPr>
        <p:txBody>
          <a:bodyPr wrap="square">
            <a:spAutoFit/>
          </a:bodyPr>
          <a:lstStyle/>
          <a:p>
            <a:pPr algn="l"/>
            <a:r>
              <a:rPr lang="en-US" sz="2800" b="1" dirty="0">
                <a:solidFill>
                  <a:srgbClr val="2A295C"/>
                </a:solidFill>
                <a:effectLst/>
                <a:latin typeface="SansaPro-SemiBold" panose="02000000000000000000" pitchFamily="50" charset="0"/>
              </a:rPr>
              <a:t>Information Access Management - UFS</a:t>
            </a:r>
          </a:p>
        </p:txBody>
      </p:sp>
      <p:graphicFrame>
        <p:nvGraphicFramePr>
          <p:cNvPr id="4" name="Object 3">
            <a:extLst>
              <a:ext uri="{FF2B5EF4-FFF2-40B4-BE49-F238E27FC236}">
                <a16:creationId xmlns:a16="http://schemas.microsoft.com/office/drawing/2014/main" id="{E799EE2E-ED8D-B891-C641-966CDB956695}"/>
              </a:ext>
            </a:extLst>
          </p:cNvPr>
          <p:cNvGraphicFramePr>
            <a:graphicFrameLocks noChangeAspect="1"/>
          </p:cNvGraphicFramePr>
          <p:nvPr>
            <p:extLst>
              <p:ext uri="{D42A27DB-BD31-4B8C-83A1-F6EECF244321}">
                <p14:modId xmlns:p14="http://schemas.microsoft.com/office/powerpoint/2010/main" val="1691500825"/>
              </p:ext>
            </p:extLst>
          </p:nvPr>
        </p:nvGraphicFramePr>
        <p:xfrm>
          <a:off x="1186317" y="2144311"/>
          <a:ext cx="4057884" cy="5251623"/>
        </p:xfrm>
        <a:graphic>
          <a:graphicData uri="http://schemas.openxmlformats.org/presentationml/2006/ole">
            <mc:AlternateContent xmlns:mc="http://schemas.openxmlformats.org/markup-compatibility/2006">
              <mc:Choice xmlns:v="urn:schemas-microsoft-com:vml" Requires="v">
                <p:oleObj name="Acrobat Document" r:id="rId3" imgW="4663262" imgH="6034723" progId="AcroExch.Document.DC">
                  <p:embed/>
                </p:oleObj>
              </mc:Choice>
              <mc:Fallback>
                <p:oleObj name="Acrobat Document" r:id="rId3" imgW="4663262" imgH="6034723" progId="AcroExch.Document.DC">
                  <p:embed/>
                  <p:pic>
                    <p:nvPicPr>
                      <p:cNvPr id="4" name="Object 3">
                        <a:extLst>
                          <a:ext uri="{FF2B5EF4-FFF2-40B4-BE49-F238E27FC236}">
                            <a16:creationId xmlns:a16="http://schemas.microsoft.com/office/drawing/2014/main" id="{E799EE2E-ED8D-B891-C641-966CDB956695}"/>
                          </a:ext>
                        </a:extLst>
                      </p:cNvPr>
                      <p:cNvPicPr/>
                      <p:nvPr/>
                    </p:nvPicPr>
                    <p:blipFill>
                      <a:blip r:embed="rId4"/>
                      <a:stretch>
                        <a:fillRect/>
                      </a:stretch>
                    </p:blipFill>
                    <p:spPr>
                      <a:xfrm>
                        <a:off x="1186317" y="2144311"/>
                        <a:ext cx="4057884" cy="5251623"/>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D11C9C46-5E80-D8D9-11E8-21A9FDEA295C}"/>
              </a:ext>
            </a:extLst>
          </p:cNvPr>
          <p:cNvGraphicFramePr>
            <a:graphicFrameLocks noChangeAspect="1"/>
          </p:cNvGraphicFramePr>
          <p:nvPr>
            <p:extLst>
              <p:ext uri="{D42A27DB-BD31-4B8C-83A1-F6EECF244321}">
                <p14:modId xmlns:p14="http://schemas.microsoft.com/office/powerpoint/2010/main" val="3382563088"/>
              </p:ext>
            </p:extLst>
          </p:nvPr>
        </p:nvGraphicFramePr>
        <p:xfrm>
          <a:off x="6343199" y="2144309"/>
          <a:ext cx="4057885" cy="5251625"/>
        </p:xfrm>
        <a:graphic>
          <a:graphicData uri="http://schemas.openxmlformats.org/presentationml/2006/ole">
            <mc:AlternateContent xmlns:mc="http://schemas.openxmlformats.org/markup-compatibility/2006">
              <mc:Choice xmlns:v="urn:schemas-microsoft-com:vml" Requires="v">
                <p:oleObj name="Acrobat Document" r:id="rId5" imgW="4663262" imgH="6034723" progId="AcroExch.Document.DC">
                  <p:embed/>
                </p:oleObj>
              </mc:Choice>
              <mc:Fallback>
                <p:oleObj name="Acrobat Document" r:id="rId5" imgW="4663262" imgH="6034723" progId="AcroExch.Document.DC">
                  <p:embed/>
                  <p:pic>
                    <p:nvPicPr>
                      <p:cNvPr id="5" name="Object 4">
                        <a:extLst>
                          <a:ext uri="{FF2B5EF4-FFF2-40B4-BE49-F238E27FC236}">
                            <a16:creationId xmlns:a16="http://schemas.microsoft.com/office/drawing/2014/main" id="{D11C9C46-5E80-D8D9-11E8-21A9FDEA295C}"/>
                          </a:ext>
                        </a:extLst>
                      </p:cNvPr>
                      <p:cNvPicPr/>
                      <p:nvPr/>
                    </p:nvPicPr>
                    <p:blipFill>
                      <a:blip r:embed="rId6"/>
                      <a:stretch>
                        <a:fillRect/>
                      </a:stretch>
                    </p:blipFill>
                    <p:spPr>
                      <a:xfrm>
                        <a:off x="6343199" y="2144309"/>
                        <a:ext cx="4057885" cy="5251625"/>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40BC57B-4640-9493-2461-94630497D1CD}"/>
              </a:ext>
            </a:extLst>
          </p:cNvPr>
          <p:cNvSpPr txBox="1"/>
          <p:nvPr/>
        </p:nvSpPr>
        <p:spPr>
          <a:xfrm>
            <a:off x="923015" y="715516"/>
            <a:ext cx="11181670" cy="1951303"/>
          </a:xfrm>
          <a:prstGeom prst="rect">
            <a:avLst/>
          </a:prstGeom>
          <a:noFill/>
        </p:spPr>
        <p:txBody>
          <a:bodyPr wrap="square" rtlCol="0">
            <a:spAutoFit/>
          </a:bodyPr>
          <a:lstStyle/>
          <a:p>
            <a:pPr>
              <a:lnSpc>
                <a:spcPct val="115000"/>
              </a:lnSpc>
              <a:spcAft>
                <a:spcPts val="1200"/>
              </a:spcAft>
            </a:pPr>
            <a:r>
              <a:rPr lang="en-US" sz="1800" b="1" dirty="0">
                <a:solidFill>
                  <a:srgbClr val="002060"/>
                </a:solidFill>
                <a:effectLst/>
                <a:latin typeface="Arial" panose="020B0604020202020204" pitchFamily="34" charset="0"/>
                <a:ea typeface="Aptos" panose="020B0004020202020204" pitchFamily="34" charset="0"/>
              </a:rPr>
              <a:t>How to Request, Update, or Remove Your Web UFS Access  </a:t>
            </a:r>
            <a:r>
              <a:rPr lang="en-US" sz="1800" b="1" dirty="0">
                <a:solidFill>
                  <a:srgbClr val="C00000"/>
                </a:solidFill>
                <a:effectLst/>
                <a:latin typeface="Arial" panose="020B0604020202020204" pitchFamily="34" charset="0"/>
                <a:ea typeface="Aptos" panose="020B0004020202020204" pitchFamily="34" charset="0"/>
              </a:rPr>
              <a:t>Note that this process has changed!</a:t>
            </a:r>
            <a:r>
              <a:rPr lang="en-US" sz="1800" dirty="0">
                <a:solidFill>
                  <a:srgbClr val="FF0000"/>
                </a:solidFill>
                <a:effectLst/>
                <a:latin typeface="Arial" panose="020B0604020202020204" pitchFamily="34" charset="0"/>
                <a:ea typeface="Aptos" panose="020B0004020202020204" pitchFamily="34" charset="0"/>
              </a:rPr>
              <a:t>  </a:t>
            </a:r>
            <a:r>
              <a:rPr lang="en-US" sz="1800" dirty="0">
                <a:effectLst/>
                <a:latin typeface="Arial" panose="020B0604020202020204" pitchFamily="34" charset="0"/>
                <a:ea typeface="Aptos" panose="020B0004020202020204" pitchFamily="34" charset="0"/>
              </a:rPr>
              <a:t>You will need to submit a Service Request through the </a:t>
            </a:r>
            <a:r>
              <a:rPr lang="en-US" dirty="0" err="1">
                <a:solidFill>
                  <a:srgbClr val="283897"/>
                </a:solidFill>
                <a:highlight>
                  <a:srgbClr val="FFFFFF"/>
                </a:highlight>
                <a:latin typeface="Arial" panose="020B0604020202020204" pitchFamily="34" charset="0"/>
                <a:hlinkClick r:id="rId7"/>
              </a:rPr>
              <a:t>SoUnified</a:t>
            </a:r>
            <a:r>
              <a:rPr lang="en-US" dirty="0">
                <a:solidFill>
                  <a:srgbClr val="000000"/>
                </a:solidFill>
                <a:highlight>
                  <a:srgbClr val="FFFFFF"/>
                </a:highlight>
                <a:latin typeface="Arial" panose="020B0604020202020204" pitchFamily="34" charset="0"/>
              </a:rPr>
              <a:t> </a:t>
            </a:r>
            <a:r>
              <a:rPr lang="en-US" sz="1800" dirty="0">
                <a:effectLst/>
                <a:latin typeface="Arial" panose="020B0604020202020204" pitchFamily="34" charset="0"/>
                <a:ea typeface="Aptos" panose="020B0004020202020204" pitchFamily="34" charset="0"/>
              </a:rPr>
              <a:t>Self Service Portal &gt; Virtual Helpdesk.</a:t>
            </a:r>
          </a:p>
          <a:p>
            <a:pPr>
              <a:lnSpc>
                <a:spcPct val="115000"/>
              </a:lnSpc>
              <a:spcAft>
                <a:spcPts val="1200"/>
              </a:spcAft>
            </a:pPr>
            <a:r>
              <a:rPr lang="en-US" dirty="0">
                <a:latin typeface="Arial" panose="020B0604020202020204" pitchFamily="34" charset="0"/>
                <a:ea typeface="Aptos" panose="020B0004020202020204" pitchFamily="34" charset="0"/>
              </a:rPr>
              <a:t>User Guides are posted on the UFS Launch site, UFS Support Center on </a:t>
            </a:r>
            <a:r>
              <a:rPr lang="en-US" dirty="0" err="1">
                <a:latin typeface="Arial" panose="020B0604020202020204" pitchFamily="34" charset="0"/>
                <a:ea typeface="Aptos" panose="020B0004020202020204" pitchFamily="34" charset="0"/>
              </a:rPr>
              <a:t>Sodexo_Net</a:t>
            </a:r>
            <a:r>
              <a:rPr lang="en-US" dirty="0">
                <a:latin typeface="Arial" panose="020B0604020202020204" pitchFamily="34" charset="0"/>
                <a:ea typeface="Aptos" panose="020B0004020202020204" pitchFamily="34" charset="0"/>
              </a:rPr>
              <a:t>, and </a:t>
            </a:r>
            <a:r>
              <a:rPr lang="en-US" b="0" i="0" u="none" strike="noStrike" dirty="0" err="1">
                <a:solidFill>
                  <a:srgbClr val="283897"/>
                </a:solidFill>
                <a:effectLst/>
                <a:highlight>
                  <a:srgbClr val="FFFFFF"/>
                </a:highlight>
                <a:latin typeface="Arial" panose="020B0604020202020204" pitchFamily="34" charset="0"/>
                <a:hlinkClick r:id="rId8" tooltip="open in new tab"/>
              </a:rPr>
              <a:t>SoUnified</a:t>
            </a:r>
            <a:r>
              <a:rPr lang="en-US" b="0" i="0" u="none" strike="noStrike" dirty="0">
                <a:solidFill>
                  <a:srgbClr val="283897"/>
                </a:solidFill>
                <a:effectLst/>
                <a:highlight>
                  <a:srgbClr val="FFFFFF"/>
                </a:highlight>
                <a:latin typeface="Arial" panose="020B0604020202020204" pitchFamily="34" charset="0"/>
                <a:hlinkClick r:id="rId8" tooltip="open in new tab"/>
              </a:rPr>
              <a:t> knowledgebase</a:t>
            </a:r>
            <a:r>
              <a:rPr lang="en-US" b="0" i="0" dirty="0">
                <a:solidFill>
                  <a:srgbClr val="000000"/>
                </a:solidFill>
                <a:effectLst/>
                <a:highlight>
                  <a:srgbClr val="FFFFFF"/>
                </a:highlight>
                <a:latin typeface="Arial" panose="020B0604020202020204" pitchFamily="34" charset="0"/>
              </a:rPr>
              <a:t> </a:t>
            </a:r>
          </a:p>
          <a:p>
            <a:endParaRPr lang="en-US" dirty="0"/>
          </a:p>
        </p:txBody>
      </p:sp>
    </p:spTree>
    <p:extLst>
      <p:ext uri="{BB962C8B-B14F-4D97-AF65-F5344CB8AC3E}">
        <p14:creationId xmlns:p14="http://schemas.microsoft.com/office/powerpoint/2010/main" val="20468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space réservé pour une image  22">
            <a:extLst>
              <a:ext uri="{FF2B5EF4-FFF2-40B4-BE49-F238E27FC236}">
                <a16:creationId xmlns:a16="http://schemas.microsoft.com/office/drawing/2014/main" id="{4F804B7B-57E3-4ECA-8CED-62321613275E}"/>
              </a:ext>
              <a:ext uri="{C183D7F6-B498-43B3-948B-1728B52AA6E4}">
                <adec:decorative xmlns:adec="http://schemas.microsoft.com/office/drawing/2017/decorative" val="1"/>
              </a:ext>
            </a:extLst>
          </p:cNvPr>
          <p:cNvSpPr>
            <a:spLocks noGrp="1"/>
          </p:cNvSpPr>
          <p:nvPr>
            <p:ph type="pic" sz="quarter" idx="64"/>
          </p:nvPr>
        </p:nvSpPr>
        <p:spPr/>
        <p:txBody>
          <a:bodyPr/>
          <a:lstStyle/>
          <a:p>
            <a:endParaRPr lang="en-US"/>
          </a:p>
        </p:txBody>
      </p:sp>
      <p:sp>
        <p:nvSpPr>
          <p:cNvPr id="9" name="Espace réservé du texte 8">
            <a:extLst>
              <a:ext uri="{FF2B5EF4-FFF2-40B4-BE49-F238E27FC236}">
                <a16:creationId xmlns:a16="http://schemas.microsoft.com/office/drawing/2014/main" id="{8E0201AB-7D34-4CEC-A747-B32565651285}"/>
              </a:ext>
            </a:extLst>
          </p:cNvPr>
          <p:cNvSpPr>
            <a:spLocks noGrp="1"/>
          </p:cNvSpPr>
          <p:nvPr>
            <p:ph type="title" idx="4294967295"/>
          </p:nvPr>
        </p:nvSpPr>
        <p:spPr>
          <a:xfrm>
            <a:off x="439432" y="522564"/>
            <a:ext cx="8532812" cy="5580062"/>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r>
              <a:rPr kumimoji="0" lang="en-US" sz="3200" b="1" i="0" u="none" strike="noStrike" kern="1200" cap="none" spc="0" normalizeH="0" baseline="0" noProof="0" dirty="0">
                <a:ln>
                  <a:noFill/>
                </a:ln>
                <a:solidFill>
                  <a:schemeClr val="tx2"/>
                </a:solidFill>
                <a:effectLst/>
                <a:uLnTx/>
                <a:uFillTx/>
                <a:latin typeface="+mn-lt"/>
                <a:ea typeface="+mn-ea"/>
                <a:cs typeface="+mn-cs"/>
              </a:rPr>
              <a:t>Safety Moment</a:t>
            </a:r>
          </a:p>
          <a:p>
            <a:pPr marL="0" marR="0" lvl="1" indent="0" algn="l" defTabSz="914377" rtl="0" eaLnBrk="1" fontAlgn="auto" latinLnBrk="0" hangingPunct="1">
              <a:lnSpc>
                <a:spcPct val="100000"/>
              </a:lnSpc>
              <a:spcBef>
                <a:spcPts val="0"/>
              </a:spcBef>
              <a:spcAft>
                <a:spcPts val="1200"/>
              </a:spcAft>
              <a:buClr>
                <a:srgbClr val="EE0000"/>
              </a:buClr>
              <a:buSzTx/>
              <a:buFont typeface="Arial" panose="020B0604020202020204" pitchFamily="34" charset="0"/>
              <a:buNone/>
              <a:tabLst/>
              <a:defRPr/>
            </a:pPr>
            <a:r>
              <a:rPr kumimoji="0" lang="en-US" sz="2400" i="0" u="none" strike="noStrike" kern="0" cap="none" spc="0" normalizeH="0" baseline="0" noProof="0" dirty="0">
                <a:ln>
                  <a:noFill/>
                </a:ln>
                <a:solidFill>
                  <a:schemeClr val="tx2"/>
                </a:solidFill>
                <a:effectLst/>
                <a:uLnTx/>
                <a:uFillTx/>
                <a:latin typeface="Arial"/>
                <a:ea typeface="+mj-ea"/>
                <a:cs typeface="+mj-cs"/>
              </a:rPr>
              <a:t>Thunderstorms &amp; Lightning</a:t>
            </a:r>
            <a:endParaRPr kumimoji="0" lang="en-US" sz="2400" i="0" u="none" strike="noStrike" kern="1200" cap="none" spc="0" normalizeH="0" baseline="0" noProof="0" dirty="0">
              <a:ln>
                <a:noFill/>
              </a:ln>
              <a:solidFill>
                <a:schemeClr val="tx2"/>
              </a:solidFill>
              <a:effectLst/>
              <a:uLnTx/>
              <a:uFillTx/>
              <a:latin typeface="+mn-lt"/>
              <a:ea typeface="+mn-ea"/>
              <a:cs typeface="+mn-cs"/>
            </a:endParaRPr>
          </a:p>
        </p:txBody>
      </p:sp>
      <p:sp>
        <p:nvSpPr>
          <p:cNvPr id="20" name="Espace réservé du texte 19">
            <a:extLst>
              <a:ext uri="{FF2B5EF4-FFF2-40B4-BE49-F238E27FC236}">
                <a16:creationId xmlns:a16="http://schemas.microsoft.com/office/drawing/2014/main" id="{392992E9-E001-4536-A27F-C0790377B238}"/>
              </a:ext>
              <a:ext uri="{C183D7F6-B498-43B3-948B-1728B52AA6E4}">
                <adec:decorative xmlns:adec="http://schemas.microsoft.com/office/drawing/2017/decorative" val="1"/>
              </a:ext>
            </a:extLst>
          </p:cNvPr>
          <p:cNvSpPr>
            <a:spLocks noGrp="1"/>
          </p:cNvSpPr>
          <p:nvPr>
            <p:ph type="body" sz="quarter" idx="60"/>
          </p:nvPr>
        </p:nvSpPr>
        <p:spPr>
          <a:xfrm>
            <a:off x="0" y="522514"/>
            <a:ext cx="442913" cy="5580112"/>
          </a:xfrm>
        </p:spPr>
        <p:txBody>
          <a:bodyPr/>
          <a:lstStyle/>
          <a:p>
            <a:endParaRPr lang="fr-FR" dirty="0"/>
          </a:p>
        </p:txBody>
      </p:sp>
      <p:sp>
        <p:nvSpPr>
          <p:cNvPr id="21" name="Espace réservé du texte 20">
            <a:extLst>
              <a:ext uri="{FF2B5EF4-FFF2-40B4-BE49-F238E27FC236}">
                <a16:creationId xmlns:a16="http://schemas.microsoft.com/office/drawing/2014/main" id="{C94B0F43-5981-4EBF-AA0D-E99326FFF3C1}"/>
              </a:ext>
            </a:extLst>
          </p:cNvPr>
          <p:cNvSpPr>
            <a:spLocks noGrp="1"/>
          </p:cNvSpPr>
          <p:nvPr>
            <p:ph type="body" sz="quarter" idx="62"/>
          </p:nvPr>
        </p:nvSpPr>
        <p:spPr>
          <a:xfrm>
            <a:off x="3667786" y="5575469"/>
            <a:ext cx="1289192" cy="416165"/>
          </a:xfrm>
        </p:spPr>
        <p:txBody>
          <a:bodyPr/>
          <a:lstStyle/>
          <a:p>
            <a:endParaRPr lang="fr-FR" dirty="0"/>
          </a:p>
        </p:txBody>
      </p:sp>
      <p:sp>
        <p:nvSpPr>
          <p:cNvPr id="22" name="Espace réservé du texte 21">
            <a:extLst>
              <a:ext uri="{FF2B5EF4-FFF2-40B4-BE49-F238E27FC236}">
                <a16:creationId xmlns:a16="http://schemas.microsoft.com/office/drawing/2014/main" id="{9737E8AA-65B0-4126-AB2D-0B2871F33BA8}"/>
              </a:ext>
            </a:extLst>
          </p:cNvPr>
          <p:cNvSpPr>
            <a:spLocks noGrp="1"/>
          </p:cNvSpPr>
          <p:nvPr>
            <p:ph type="body" sz="quarter" idx="63"/>
          </p:nvPr>
        </p:nvSpPr>
        <p:spPr>
          <a:xfrm>
            <a:off x="4517431" y="5739548"/>
            <a:ext cx="258728" cy="223555"/>
          </a:xfrm>
        </p:spPr>
        <p:txBody>
          <a:bodyPr/>
          <a:lstStyle/>
          <a:p>
            <a:endParaRPr lang="fr-FR" dirty="0"/>
          </a:p>
        </p:txBody>
      </p:sp>
      <p:sp>
        <p:nvSpPr>
          <p:cNvPr id="3" name="Footer Placeholder 2">
            <a:extLst>
              <a:ext uri="{FF2B5EF4-FFF2-40B4-BE49-F238E27FC236}">
                <a16:creationId xmlns:a16="http://schemas.microsoft.com/office/drawing/2014/main" id="{3E2880B9-9C94-8C43-C50B-254EC4E5D1DD}"/>
              </a:ext>
            </a:extLst>
          </p:cNvPr>
          <p:cNvSpPr>
            <a:spLocks noGrp="1"/>
          </p:cNvSpPr>
          <p:nvPr>
            <p:ph type="ftr" sz="quarter" idx="67"/>
          </p:nvPr>
        </p:nvSpPr>
        <p:spPr>
          <a:xfrm>
            <a:off x="439432" y="6544557"/>
            <a:ext cx="4114800" cy="123111"/>
          </a:xfrm>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a:ea typeface="+mn-ea"/>
                <a:cs typeface="+mn-cs"/>
              </a:rPr>
              <a:t>Unit Controller Call Series © Sodexo, July 2024.  All rights Reserved</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pic>
        <p:nvPicPr>
          <p:cNvPr id="6" name="Picture 5">
            <a:extLst>
              <a:ext uri="{FF2B5EF4-FFF2-40B4-BE49-F238E27FC236}">
                <a16:creationId xmlns:a16="http://schemas.microsoft.com/office/drawing/2014/main" id="{D63848CD-6D67-67A6-8548-0E41531C2D15}"/>
              </a:ext>
            </a:extLst>
          </p:cNvPr>
          <p:cNvPicPr>
            <a:picLocks noChangeAspect="1"/>
          </p:cNvPicPr>
          <p:nvPr/>
        </p:nvPicPr>
        <p:blipFill>
          <a:blip r:embed="rId3"/>
          <a:stretch>
            <a:fillRect/>
          </a:stretch>
        </p:blipFill>
        <p:spPr>
          <a:xfrm>
            <a:off x="5162210" y="2514600"/>
            <a:ext cx="3317685" cy="2738717"/>
          </a:xfrm>
          <a:prstGeom prst="rect">
            <a:avLst/>
          </a:prstGeom>
        </p:spPr>
      </p:pic>
      <p:pic>
        <p:nvPicPr>
          <p:cNvPr id="2" name="Picture 1">
            <a:extLst>
              <a:ext uri="{FF2B5EF4-FFF2-40B4-BE49-F238E27FC236}">
                <a16:creationId xmlns:a16="http://schemas.microsoft.com/office/drawing/2014/main" id="{C57BB539-C1FC-911A-FD57-12C2B3ECF5DE}"/>
              </a:ext>
            </a:extLst>
          </p:cNvPr>
          <p:cNvPicPr>
            <a:picLocks noChangeAspect="1"/>
          </p:cNvPicPr>
          <p:nvPr/>
        </p:nvPicPr>
        <p:blipFill>
          <a:blip r:embed="rId4"/>
          <a:stretch>
            <a:fillRect/>
          </a:stretch>
        </p:blipFill>
        <p:spPr>
          <a:xfrm>
            <a:off x="1634173" y="3312570"/>
            <a:ext cx="1725318" cy="1731414"/>
          </a:xfrm>
          <a:prstGeom prst="rect">
            <a:avLst/>
          </a:prstGeom>
        </p:spPr>
      </p:pic>
    </p:spTree>
    <p:extLst>
      <p:ext uri="{BB962C8B-B14F-4D97-AF65-F5344CB8AC3E}">
        <p14:creationId xmlns:p14="http://schemas.microsoft.com/office/powerpoint/2010/main" val="248559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09E1D-6BB0-C773-22B6-00F2D5AEF55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CE9560A-98D5-9EEA-8F55-AF63A16540C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3"/>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chemeClr val="accent1"/>
                </a:solidFill>
                <a:effectLst/>
                <a:uLnTx/>
                <a:uFillTx/>
                <a:latin typeface="+mn-lt"/>
                <a:ea typeface="+mn-ea"/>
                <a:cs typeface="+mn-cs"/>
              </a:rPr>
              <a:t>Demo</a:t>
            </a:r>
            <a:br>
              <a:rPr kumimoji="0" lang="en-US" sz="3600" b="1" i="0" u="none" strike="noStrike" kern="1200" cap="none" spc="0" normalizeH="0" baseline="0" noProof="0" dirty="0">
                <a:ln>
                  <a:noFill/>
                </a:ln>
                <a:solidFill>
                  <a:schemeClr val="accent1"/>
                </a:solidFill>
                <a:effectLst/>
                <a:uLnTx/>
                <a:uFillTx/>
                <a:latin typeface="+mn-lt"/>
                <a:ea typeface="+mn-ea"/>
                <a:cs typeface="+mn-cs"/>
              </a:rPr>
            </a:br>
            <a:r>
              <a:rPr kumimoji="0" lang="en-US" sz="3600" b="1" i="0" u="none" strike="noStrike" kern="1200" cap="none" spc="0" normalizeH="0" baseline="0" noProof="0" dirty="0">
                <a:ln>
                  <a:noFill/>
                </a:ln>
                <a:solidFill>
                  <a:schemeClr val="accent1"/>
                </a:solidFill>
                <a:effectLst/>
                <a:uLnTx/>
                <a:uFillTx/>
                <a:latin typeface="+mn-lt"/>
                <a:ea typeface="+mn-ea"/>
                <a:cs typeface="+mn-cs"/>
              </a:rPr>
              <a:t>IAM Form –</a:t>
            </a:r>
            <a:br>
              <a:rPr kumimoji="0" lang="en-US" sz="3600" b="1" i="0" u="none" strike="noStrike" kern="1200" cap="none" spc="0" normalizeH="0" baseline="0" noProof="0" dirty="0">
                <a:ln>
                  <a:noFill/>
                </a:ln>
                <a:solidFill>
                  <a:schemeClr val="accent1"/>
                </a:solidFill>
                <a:effectLst/>
                <a:uLnTx/>
                <a:uFillTx/>
                <a:latin typeface="+mn-lt"/>
                <a:ea typeface="+mn-ea"/>
                <a:cs typeface="+mn-cs"/>
              </a:rPr>
            </a:br>
            <a:r>
              <a:rPr kumimoji="0" lang="en-US" sz="3600" b="1" i="0" u="none" strike="noStrike" kern="1200" cap="none" spc="0" normalizeH="0" baseline="0" noProof="0" dirty="0">
                <a:ln>
                  <a:noFill/>
                </a:ln>
                <a:solidFill>
                  <a:schemeClr val="accent1"/>
                </a:solidFill>
                <a:effectLst/>
                <a:uLnTx/>
                <a:uFillTx/>
                <a:latin typeface="+mn-lt"/>
                <a:ea typeface="+mn-ea"/>
                <a:cs typeface="+mn-cs"/>
              </a:rPr>
              <a:t>Unit Financial Systems</a:t>
            </a:r>
            <a:endParaRPr kumimoji="0" lang="en-US" sz="37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Footer Placeholder 3">
            <a:extLst>
              <a:ext uri="{FF2B5EF4-FFF2-40B4-BE49-F238E27FC236}">
                <a16:creationId xmlns:a16="http://schemas.microsoft.com/office/drawing/2014/main" id="{7BB674C4-C1D4-E705-70B3-2B4D76947EFF}"/>
              </a:ext>
            </a:extLst>
          </p:cNvPr>
          <p:cNvSpPr>
            <a:spLocks noGrp="1"/>
          </p:cNvSpPr>
          <p:nvPr>
            <p:ph type="ftr" sz="quarter" idx="6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7755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re 21">
            <a:extLst>
              <a:ext uri="{FF2B5EF4-FFF2-40B4-BE49-F238E27FC236}">
                <a16:creationId xmlns:a16="http://schemas.microsoft.com/office/drawing/2014/main" id="{4D337344-A9E6-4FE1-9447-C79646B19219}"/>
              </a:ext>
            </a:extLst>
          </p:cNvPr>
          <p:cNvSpPr>
            <a:spLocks noGrp="1"/>
          </p:cNvSpPr>
          <p:nvPr>
            <p:ph type="title"/>
          </p:nvPr>
        </p:nvSpPr>
        <p:spPr>
          <a:xfrm>
            <a:off x="443280" y="469065"/>
            <a:ext cx="10515600" cy="387798"/>
          </a:xfrm>
        </p:spPr>
        <p:txBody>
          <a:bodyPr/>
          <a:lstStyle/>
          <a:p>
            <a:r>
              <a:rPr lang="en-US" sz="2800" dirty="0"/>
              <a:t>Questions?</a:t>
            </a:r>
            <a:endParaRPr lang="en-US" sz="2800" noProof="0" dirty="0"/>
          </a:p>
        </p:txBody>
      </p:sp>
      <p:pic>
        <p:nvPicPr>
          <p:cNvPr id="3" name="Picture 2" descr="Best 100+ Question Pictures [HD] | Download Free Images &amp; Stock Photos on  Unsplash">
            <a:extLst>
              <a:ext uri="{FF2B5EF4-FFF2-40B4-BE49-F238E27FC236}">
                <a16:creationId xmlns:a16="http://schemas.microsoft.com/office/drawing/2014/main" id="{559E2BB0-69D6-17A7-6206-F9D97C7668A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7374" b="15945"/>
          <a:stretch/>
        </p:blipFill>
        <p:spPr bwMode="auto">
          <a:xfrm>
            <a:off x="554493" y="1051560"/>
            <a:ext cx="10998201" cy="5212080"/>
          </a:xfrm>
          <a:prstGeom prst="rect">
            <a:avLst/>
          </a:prstGeom>
          <a:solidFill>
            <a:srgbClr val="FFFFFF"/>
          </a:solidFill>
        </p:spPr>
      </p:pic>
      <p:sp>
        <p:nvSpPr>
          <p:cNvPr id="4" name="Footer Placeholder 3">
            <a:extLst>
              <a:ext uri="{FF2B5EF4-FFF2-40B4-BE49-F238E27FC236}">
                <a16:creationId xmlns:a16="http://schemas.microsoft.com/office/drawing/2014/main" id="{E084B496-A9BF-9DDA-5C35-FDC8D662CB37}"/>
              </a:ext>
            </a:extLst>
          </p:cNvPr>
          <p:cNvSpPr>
            <a:spLocks noGrp="1"/>
          </p:cNvSpPr>
          <p:nvPr>
            <p:ph type="ftr" sz="quarter" idx="17"/>
          </p:nvPr>
        </p:nvSpPr>
        <p:spPr/>
        <p:txBody>
          <a:bodyPr/>
          <a:lstStyle/>
          <a:p>
            <a:r>
              <a:rPr lang="en-US" noProof="0"/>
              <a:t>Unit Controller Call Series © Sodexo, July 2024.  All rights Reserved</a:t>
            </a:r>
            <a:endParaRPr lang="en-US" noProof="0" dirty="0"/>
          </a:p>
        </p:txBody>
      </p:sp>
    </p:spTree>
    <p:extLst>
      <p:ext uri="{BB962C8B-B14F-4D97-AF65-F5344CB8AC3E}">
        <p14:creationId xmlns:p14="http://schemas.microsoft.com/office/powerpoint/2010/main" val="361202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09E1D-6BB0-C773-22B6-00F2D5AEF552}"/>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ECE9560A-98D5-9EEA-8F55-AF63A16540C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3"/>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chemeClr val="accent1"/>
                </a:solidFill>
                <a:effectLst/>
                <a:uLnTx/>
                <a:uFillTx/>
                <a:latin typeface="+mn-lt"/>
                <a:ea typeface="+mn-ea"/>
                <a:cs typeface="+mn-cs"/>
              </a:rPr>
              <a:t>Stars of Finance</a:t>
            </a:r>
            <a:endParaRPr kumimoji="0" lang="en-US" sz="3700" b="1" i="0" u="none" strike="noStrike" kern="1200" cap="none" spc="0" normalizeH="0" baseline="0" noProof="0" dirty="0">
              <a:ln>
                <a:noFill/>
              </a:ln>
              <a:solidFill>
                <a:schemeClr val="accent1"/>
              </a:solidFill>
              <a:effectLst/>
              <a:uLnTx/>
              <a:uFillTx/>
              <a:latin typeface="+mn-lt"/>
              <a:ea typeface="+mn-ea"/>
              <a:cs typeface="+mn-cs"/>
            </a:endParaRPr>
          </a:p>
        </p:txBody>
      </p:sp>
      <p:sp>
        <p:nvSpPr>
          <p:cNvPr id="4" name="Footer Placeholder 3">
            <a:extLst>
              <a:ext uri="{FF2B5EF4-FFF2-40B4-BE49-F238E27FC236}">
                <a16:creationId xmlns:a16="http://schemas.microsoft.com/office/drawing/2014/main" id="{7BB674C4-C1D4-E705-70B3-2B4D76947EFF}"/>
              </a:ext>
            </a:extLst>
          </p:cNvPr>
          <p:cNvSpPr>
            <a:spLocks noGrp="1"/>
          </p:cNvSpPr>
          <p:nvPr>
            <p:ph type="ftr" sz="quarter" idx="6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prstClr val="white"/>
                </a:solidFill>
                <a:effectLst/>
                <a:uLnTx/>
                <a:uFillTx/>
                <a:latin typeface="Arial" panose="020B0604020202020204"/>
                <a:ea typeface="+mn-ea"/>
                <a:cs typeface="+mn-cs"/>
              </a:rPr>
              <a:t>Unit Controller Call Series © Sodexo, July 2024.  All rights Reserved</a:t>
            </a:r>
            <a:endParaRPr kumimoji="0" lang="en-US" sz="75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9229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blurry image of stars&#10;&#10;Description automatically generated">
            <a:extLst>
              <a:ext uri="{FF2B5EF4-FFF2-40B4-BE49-F238E27FC236}">
                <a16:creationId xmlns:a16="http://schemas.microsoft.com/office/drawing/2014/main" id="{A26F0258-7783-A2A2-0A37-B91E255E4177}"/>
              </a:ext>
            </a:extLst>
          </p:cNvPr>
          <p:cNvPicPr>
            <a:picLocks noChangeAspect="1"/>
          </p:cNvPicPr>
          <p:nvPr/>
        </p:nvPicPr>
        <p:blipFill rotWithShape="1">
          <a:blip r:embed="rId2">
            <a:extLst>
              <a:ext uri="{28A0092B-C50C-407E-A947-70E740481C1C}">
                <a14:useLocalDpi xmlns:a14="http://schemas.microsoft.com/office/drawing/2010/main" val="0"/>
              </a:ext>
            </a:extLst>
          </a:blip>
          <a:srcRect r="23600"/>
          <a:stretch/>
        </p:blipFill>
        <p:spPr>
          <a:xfrm>
            <a:off x="-1" y="0"/>
            <a:ext cx="12192001" cy="6858000"/>
          </a:xfrm>
          <a:prstGeom prst="rect">
            <a:avLst/>
          </a:prstGeom>
        </p:spPr>
      </p:pic>
      <p:sp>
        <p:nvSpPr>
          <p:cNvPr id="9" name="Subtitle 2">
            <a:extLst>
              <a:ext uri="{FF2B5EF4-FFF2-40B4-BE49-F238E27FC236}">
                <a16:creationId xmlns:a16="http://schemas.microsoft.com/office/drawing/2014/main" id="{FFE93A0C-A399-F35E-3FFF-A0CEDB3A9DEE}"/>
              </a:ext>
            </a:extLst>
          </p:cNvPr>
          <p:cNvSpPr txBox="1">
            <a:spLocks/>
          </p:cNvSpPr>
          <p:nvPr/>
        </p:nvSpPr>
        <p:spPr>
          <a:xfrm>
            <a:off x="531901" y="972879"/>
            <a:ext cx="11489704" cy="794707"/>
          </a:xfrm>
          <a:prstGeom prst="rect">
            <a:avLst/>
          </a:prstGeom>
        </p:spPr>
        <p:txBody>
          <a:bodyPr>
            <a:normAutofit lnSpcReduction="10000"/>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
                <a:srgbClr val="199CD8"/>
              </a:buClr>
              <a:buSzPct val="115000"/>
              <a:buFont typeface="Arial"/>
              <a:buNone/>
              <a:tabLst/>
              <a:defRPr/>
            </a:pPr>
            <a:r>
              <a:rPr kumimoji="0" lang="en-US" sz="2400" b="1" i="0" u="none" strike="noStrike" kern="1200" cap="none" spc="0" normalizeH="0" baseline="0" noProof="0" dirty="0">
                <a:ln>
                  <a:noFill/>
                </a:ln>
                <a:solidFill>
                  <a:srgbClr val="283897"/>
                </a:solidFill>
                <a:effectLst/>
                <a:uLnTx/>
                <a:uFillTx/>
                <a:latin typeface="Arial" panose="020B0604020202020204"/>
                <a:ea typeface="+mn-ea"/>
                <a:cs typeface="+mn-cs"/>
              </a:rPr>
              <a:t>Our 2023 Stars of Finance Winners Celebrating With </a:t>
            </a:r>
          </a:p>
          <a:p>
            <a:pPr marL="0" marR="0" lvl="0" indent="0" algn="ctr" defTabSz="457200" rtl="0" eaLnBrk="1" fontAlgn="auto" latinLnBrk="0" hangingPunct="1">
              <a:lnSpc>
                <a:spcPct val="100000"/>
              </a:lnSpc>
              <a:spcBef>
                <a:spcPts val="0"/>
              </a:spcBef>
              <a:spcAft>
                <a:spcPts val="0"/>
              </a:spcAft>
              <a:buClr>
                <a:srgbClr val="199CD8"/>
              </a:buClr>
              <a:buSzPct val="115000"/>
              <a:buFont typeface="Arial"/>
              <a:buNone/>
              <a:tabLst/>
              <a:defRPr/>
            </a:pPr>
            <a:r>
              <a:rPr kumimoji="0" lang="en-US" sz="2400" b="1" i="0" u="none" strike="noStrike" kern="1200" cap="none" spc="0" normalizeH="0" baseline="0" noProof="0" dirty="0">
                <a:ln>
                  <a:noFill/>
                </a:ln>
                <a:solidFill>
                  <a:srgbClr val="283897"/>
                </a:solidFill>
                <a:effectLst/>
                <a:uLnTx/>
                <a:uFillTx/>
                <a:latin typeface="Arial" panose="020B0604020202020204"/>
                <a:ea typeface="+mn-ea"/>
                <a:cs typeface="+mn-cs"/>
              </a:rPr>
              <a:t>the NorAm Finance Leadership Team</a:t>
            </a:r>
          </a:p>
        </p:txBody>
      </p:sp>
      <p:sp>
        <p:nvSpPr>
          <p:cNvPr id="10" name="Slide Number Placeholder 3">
            <a:extLst>
              <a:ext uri="{FF2B5EF4-FFF2-40B4-BE49-F238E27FC236}">
                <a16:creationId xmlns:a16="http://schemas.microsoft.com/office/drawing/2014/main" id="{696D3076-197C-C5F0-3A3B-4FE945FDBA25}"/>
              </a:ext>
            </a:extLst>
          </p:cNvPr>
          <p:cNvSpPr txBox="1">
            <a:spLocks/>
          </p:cNvSpPr>
          <p:nvPr/>
        </p:nvSpPr>
        <p:spPr>
          <a:xfrm>
            <a:off x="260536" y="6621172"/>
            <a:ext cx="542727" cy="107722"/>
          </a:xfrm>
          <a:prstGeom prst="rect">
            <a:avLst/>
          </a:prstGeom>
        </p:spPr>
        <p:txBody>
          <a:bodyPr vert="horz" lIns="0" tIns="0" rIns="0" bIns="0" rtlCol="0" anchor="ctr">
            <a:noAutofit/>
          </a:bodyPr>
          <a:lstStyle>
            <a:defPPr>
              <a:defRPr lang="en-US"/>
            </a:defPPr>
            <a:lvl1pPr marL="0" algn="ctr" defTabSz="914400" rtl="0" eaLnBrk="1" latinLnBrk="0" hangingPunct="1">
              <a:defRPr sz="700" b="0" kern="1200">
                <a:solidFill>
                  <a:srgbClr val="2A295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D106B86-2C1D-4C37-AAEC-BECB664F03FD}" type="slidenum">
              <a:rPr kumimoji="0" lang="en-GB" sz="700" b="0" i="0" u="none" strike="noStrike" kern="1200" cap="none" spc="0" normalizeH="0" baseline="0" noProof="0" smtClean="0">
                <a:ln>
                  <a:noFill/>
                </a:ln>
                <a:solidFill>
                  <a:srgbClr val="2A295C"/>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GB" sz="700" b="0" i="0" u="none" strike="noStrike" kern="1200" cap="none" spc="0" normalizeH="0" baseline="0" noProof="0" dirty="0">
              <a:ln>
                <a:noFill/>
              </a:ln>
              <a:solidFill>
                <a:srgbClr val="2A295C"/>
              </a:solidFill>
              <a:effectLst/>
              <a:uLnTx/>
              <a:uFillTx/>
              <a:latin typeface="Arial" panose="020B0604020202020204"/>
              <a:ea typeface="+mn-ea"/>
              <a:cs typeface="+mn-cs"/>
            </a:endParaRPr>
          </a:p>
        </p:txBody>
      </p:sp>
      <p:pic>
        <p:nvPicPr>
          <p:cNvPr id="11" name="Picture 10" descr="StarsofFinanceWinners-25">
            <a:extLst>
              <a:ext uri="{FF2B5EF4-FFF2-40B4-BE49-F238E27FC236}">
                <a16:creationId xmlns:a16="http://schemas.microsoft.com/office/drawing/2014/main" id="{655E94F3-3076-0BB3-89FC-FBEC7DA30288}"/>
              </a:ext>
            </a:extLst>
          </p:cNvPr>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2076892" y="867460"/>
            <a:ext cx="8229600" cy="5486400"/>
          </a:xfrm>
          <a:prstGeom prst="rect">
            <a:avLst/>
          </a:prstGeom>
          <a:ln>
            <a:noFill/>
          </a:ln>
          <a:effectLst>
            <a:outerShdw blurRad="190500" algn="tl" rotWithShape="0">
              <a:srgbClr val="000000">
                <a:alpha val="70000"/>
              </a:srgbClr>
            </a:outerShdw>
          </a:effectLst>
        </p:spPr>
      </p:pic>
      <p:sp>
        <p:nvSpPr>
          <p:cNvPr id="12" name="Subtitle 2">
            <a:extLst>
              <a:ext uri="{FF2B5EF4-FFF2-40B4-BE49-F238E27FC236}">
                <a16:creationId xmlns:a16="http://schemas.microsoft.com/office/drawing/2014/main" id="{FBA3C1F1-C4F6-FB53-0349-056C10469CD4}"/>
              </a:ext>
            </a:extLst>
          </p:cNvPr>
          <p:cNvSpPr txBox="1">
            <a:spLocks/>
          </p:cNvSpPr>
          <p:nvPr/>
        </p:nvSpPr>
        <p:spPr>
          <a:xfrm>
            <a:off x="531900" y="1345022"/>
            <a:ext cx="11489704" cy="794707"/>
          </a:xfrm>
          <a:prstGeom prst="rect">
            <a:avLst/>
          </a:prstGeom>
        </p:spPr>
        <p:txBody>
          <a:bodyPr>
            <a:normAutofit lnSpcReduction="10000"/>
          </a:bodyPr>
          <a:lst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
                <a:srgbClr val="199CD8"/>
              </a:buClr>
              <a:buSzPct val="115000"/>
              <a:buFont typeface="Arial"/>
              <a:buNone/>
              <a:tabLst/>
              <a:defRPr/>
            </a:pPr>
            <a:r>
              <a:rPr kumimoji="0" lang="en-US" sz="2400" b="1" i="0" u="none" strike="noStrike" kern="1200" cap="none" spc="0" normalizeH="0" baseline="0" noProof="0" dirty="0">
                <a:ln>
                  <a:noFill/>
                </a:ln>
                <a:solidFill>
                  <a:srgbClr val="283897"/>
                </a:solidFill>
                <a:effectLst/>
                <a:uLnTx/>
                <a:uFillTx/>
                <a:latin typeface="Arial" panose="020B0604020202020204"/>
                <a:ea typeface="+mn-ea"/>
                <a:cs typeface="+mn-cs"/>
              </a:rPr>
              <a:t>Our 2023 Stars of Finance Winners Celebrating With </a:t>
            </a:r>
          </a:p>
          <a:p>
            <a:pPr marL="0" marR="0" lvl="0" indent="0" algn="ctr" defTabSz="457200" rtl="0" eaLnBrk="1" fontAlgn="auto" latinLnBrk="0" hangingPunct="1">
              <a:lnSpc>
                <a:spcPct val="100000"/>
              </a:lnSpc>
              <a:spcBef>
                <a:spcPts val="0"/>
              </a:spcBef>
              <a:spcAft>
                <a:spcPts val="0"/>
              </a:spcAft>
              <a:buClr>
                <a:srgbClr val="199CD8"/>
              </a:buClr>
              <a:buSzPct val="115000"/>
              <a:buFont typeface="Arial"/>
              <a:buNone/>
              <a:tabLst/>
              <a:defRPr/>
            </a:pPr>
            <a:r>
              <a:rPr kumimoji="0" lang="en-US" sz="2400" b="1" i="0" u="none" strike="noStrike" kern="1200" cap="none" spc="0" normalizeH="0" baseline="0" noProof="0" dirty="0">
                <a:ln>
                  <a:noFill/>
                </a:ln>
                <a:solidFill>
                  <a:srgbClr val="283897"/>
                </a:solidFill>
                <a:effectLst/>
                <a:uLnTx/>
                <a:uFillTx/>
                <a:latin typeface="Arial" panose="020B0604020202020204"/>
                <a:ea typeface="+mn-ea"/>
                <a:cs typeface="+mn-cs"/>
              </a:rPr>
              <a:t>the NorAm Finance Leadership Team</a:t>
            </a:r>
          </a:p>
        </p:txBody>
      </p:sp>
      <p:sp>
        <p:nvSpPr>
          <p:cNvPr id="2" name="Footer Placeholder 1">
            <a:extLst>
              <a:ext uri="{FF2B5EF4-FFF2-40B4-BE49-F238E27FC236}">
                <a16:creationId xmlns:a16="http://schemas.microsoft.com/office/drawing/2014/main" id="{B1469E7B-5CBB-8E5E-B7F4-D8E4A0D7B089}"/>
              </a:ext>
            </a:extLst>
          </p:cNvPr>
          <p:cNvSpPr>
            <a:spLocks noGrp="1"/>
          </p:cNvSpPr>
          <p:nvPr>
            <p:ph type="ftr" sz="quarter" idx="10"/>
          </p:nvPr>
        </p:nvSpPr>
        <p:spPr/>
        <p:txBody>
          <a:bodyPr/>
          <a:lstStyle/>
          <a:p>
            <a:r>
              <a:rPr lang="en-US"/>
              <a:t>Unit Controller Call Series © Sodexo, July 2024.  All rights Reserved</a:t>
            </a:r>
            <a:endParaRPr lang="en-GB" dirty="0"/>
          </a:p>
        </p:txBody>
      </p:sp>
    </p:spTree>
    <p:extLst>
      <p:ext uri="{BB962C8B-B14F-4D97-AF65-F5344CB8AC3E}">
        <p14:creationId xmlns:p14="http://schemas.microsoft.com/office/powerpoint/2010/main" val="2136031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D76BEBA-E059-E4CD-DFE7-3AC7A008E5B2}"/>
              </a:ext>
            </a:extLst>
          </p:cNvPr>
          <p:cNvSpPr txBox="1"/>
          <p:nvPr/>
        </p:nvSpPr>
        <p:spPr>
          <a:xfrm>
            <a:off x="5824637" y="2511946"/>
            <a:ext cx="5930588" cy="2454839"/>
          </a:xfrm>
          <a:prstGeom prst="rect">
            <a:avLst/>
          </a:prstGeom>
          <a:noFill/>
        </p:spPr>
        <p:txBody>
          <a:bodyPr wrap="square">
            <a:spAutoFit/>
          </a:bodyPr>
          <a:lstStyle/>
          <a:p>
            <a:pPr marL="227013" marR="0" lvl="0" indent="-227013" algn="l" defTabSz="914400" rtl="0" eaLnBrk="1" fontAlgn="auto" latinLnBrk="0" hangingPunct="1">
              <a:lnSpc>
                <a:spcPct val="115000"/>
              </a:lnSpc>
              <a:spcBef>
                <a:spcPts val="0"/>
              </a:spcBef>
              <a:spcAft>
                <a:spcPts val="1200"/>
              </a:spcAft>
              <a:buClr>
                <a:srgbClr val="915FC8">
                  <a:lumMod val="75000"/>
                </a:srgbClr>
              </a:buClr>
              <a:buSzTx/>
              <a:buFont typeface="Wingdings" panose="05000000000000000000" pitchFamily="2" charset="2"/>
              <a:buChar char="§"/>
              <a:tabLst/>
              <a:defRPr/>
            </a:pPr>
            <a:r>
              <a:rPr kumimoji="0" lang="en-GB"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Finance Professional of the Year (individual)</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a:p>
            <a:pPr marL="227013" marR="0" lvl="0" indent="-227013" algn="l" defTabSz="914400" rtl="0" eaLnBrk="1" fontAlgn="auto" latinLnBrk="0" hangingPunct="1">
              <a:lnSpc>
                <a:spcPct val="115000"/>
              </a:lnSpc>
              <a:spcBef>
                <a:spcPts val="0"/>
              </a:spcBef>
              <a:spcAft>
                <a:spcPts val="1200"/>
              </a:spcAft>
              <a:buClr>
                <a:srgbClr val="915FC8">
                  <a:lumMod val="75000"/>
                </a:srgbClr>
              </a:buClr>
              <a:buSzTx/>
              <a:buFont typeface="Wingdings" panose="05000000000000000000" pitchFamily="2" charset="2"/>
              <a:buChar char="§"/>
              <a:tabLst/>
              <a:defRPr/>
            </a:pPr>
            <a:r>
              <a:rPr kumimoji="0" lang="en-GB"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Unit Controller of the Year (individual)</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a:p>
            <a:pPr marL="227013" marR="0" lvl="0" indent="-227013" algn="l" defTabSz="914400" rtl="0" eaLnBrk="1" fontAlgn="auto" latinLnBrk="0" hangingPunct="1">
              <a:lnSpc>
                <a:spcPct val="115000"/>
              </a:lnSpc>
              <a:spcBef>
                <a:spcPts val="0"/>
              </a:spcBef>
              <a:spcAft>
                <a:spcPts val="1200"/>
              </a:spcAft>
              <a:buClr>
                <a:srgbClr val="915FC8">
                  <a:lumMod val="75000"/>
                </a:srgbClr>
              </a:buClr>
              <a:buSzTx/>
              <a:buFont typeface="Wingdings" panose="05000000000000000000" pitchFamily="2" charset="2"/>
              <a:buChar char="§"/>
              <a:tabLst/>
              <a:defRPr/>
            </a:pPr>
            <a:r>
              <a:rPr kumimoji="0" lang="en-GB"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Operations Excellence (individual or team)</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a:p>
            <a:pPr marL="227013" marR="0" lvl="0" indent="-227013" algn="l" defTabSz="914400" rtl="0" eaLnBrk="1" fontAlgn="auto" latinLnBrk="0" hangingPunct="1">
              <a:lnSpc>
                <a:spcPct val="115000"/>
              </a:lnSpc>
              <a:spcBef>
                <a:spcPts val="0"/>
              </a:spcBef>
              <a:spcAft>
                <a:spcPts val="1200"/>
              </a:spcAft>
              <a:buClr>
                <a:srgbClr val="915FC8">
                  <a:lumMod val="75000"/>
                </a:srgbClr>
              </a:buClr>
              <a:buSzTx/>
              <a:buFont typeface="Wingdings" panose="05000000000000000000" pitchFamily="2" charset="2"/>
              <a:buChar char="§"/>
              <a:tabLst/>
              <a:defRPr/>
            </a:pPr>
            <a:r>
              <a:rPr kumimoji="0" lang="en-GB"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Finance for Growth (individual or team)</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a:p>
            <a:pPr marL="227013" marR="0" lvl="0" indent="-227013" algn="l" defTabSz="914400" rtl="0" eaLnBrk="1" fontAlgn="auto" latinLnBrk="0" hangingPunct="1">
              <a:lnSpc>
                <a:spcPct val="115000"/>
              </a:lnSpc>
              <a:spcBef>
                <a:spcPts val="0"/>
              </a:spcBef>
              <a:spcAft>
                <a:spcPts val="1200"/>
              </a:spcAft>
              <a:buClr>
                <a:srgbClr val="915FC8">
                  <a:lumMod val="75000"/>
                </a:srgbClr>
              </a:buClr>
              <a:buSzTx/>
              <a:buFont typeface="Wingdings" panose="05000000000000000000" pitchFamily="2" charset="2"/>
              <a:buChar char="§"/>
              <a:tabLst/>
              <a:defRPr/>
            </a:pPr>
            <a:r>
              <a:rPr kumimoji="0" lang="en-GB"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Process Improvement (individual or team)</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p:txBody>
      </p:sp>
      <p:sp>
        <p:nvSpPr>
          <p:cNvPr id="10" name="TextBox 9">
            <a:extLst>
              <a:ext uri="{FF2B5EF4-FFF2-40B4-BE49-F238E27FC236}">
                <a16:creationId xmlns:a16="http://schemas.microsoft.com/office/drawing/2014/main" id="{ACDDDF3F-0E1F-134E-5A58-558CC9677D39}"/>
              </a:ext>
            </a:extLst>
          </p:cNvPr>
          <p:cNvSpPr txBox="1"/>
          <p:nvPr/>
        </p:nvSpPr>
        <p:spPr>
          <a:xfrm>
            <a:off x="202731" y="1981191"/>
            <a:ext cx="5269583" cy="4639475"/>
          </a:xfrm>
          <a:prstGeom prst="rect">
            <a:avLst/>
          </a:prstGeom>
          <a:noFill/>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Our finance professionals make amazing contributions every day!</a:t>
            </a: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Show your appreciation for our Finance professionals who have gone above and beyond by nominating one or more of them for a Stars of Finance award.  </a:t>
            </a:r>
          </a:p>
          <a:p>
            <a:pPr marL="0" marR="0" lvl="0" indent="0" algn="l" defTabSz="9144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Every nominee will be notified, so even those who do not ultimately win an award will know their contributions were recognized.  </a:t>
            </a:r>
          </a:p>
          <a:p>
            <a:pPr marL="0" marR="0" lvl="0" indent="0" algn="l" defTabSz="9144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Nominations open through </a:t>
            </a:r>
            <a:r>
              <a:rPr kumimoji="0" lang="en-US" sz="2000" b="1"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August 31</a:t>
            </a:r>
            <a:r>
              <a:rPr kumimoji="0" lang="en-US" sz="2000" b="1" i="0" u="none" strike="noStrike" kern="1200" cap="none" spc="0" normalizeH="0" baseline="30000" noProof="0" dirty="0">
                <a:ln>
                  <a:noFill/>
                </a:ln>
                <a:solidFill>
                  <a:srgbClr val="283897"/>
                </a:solidFill>
                <a:effectLst/>
                <a:uLnTx/>
                <a:uFillTx/>
                <a:latin typeface="Arial" panose="020B0604020202020204" pitchFamily="34" charset="0"/>
                <a:ea typeface="Calibri" panose="020F0502020204030204" pitchFamily="34" charset="0"/>
                <a:cs typeface="+mn-cs"/>
              </a:rPr>
              <a:t>st</a:t>
            </a: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Calibri" panose="020F0502020204030204" pitchFamily="34" charset="0"/>
                <a:cs typeface="+mn-cs"/>
              </a:rPr>
              <a:t>.</a:t>
            </a:r>
            <a:endParaRPr kumimoji="0" lang="en-US" sz="1800" b="0" i="0" u="none" strike="noStrike" kern="1200" cap="none" spc="0" normalizeH="0" baseline="0" noProof="0" dirty="0">
              <a:ln>
                <a:noFill/>
              </a:ln>
              <a:solidFill>
                <a:srgbClr val="283897"/>
              </a:solidFill>
              <a:effectLst/>
              <a:uLnTx/>
              <a:uFillTx/>
              <a:latin typeface="Calibri" panose="020F0502020204030204" pitchFamily="34" charset="0"/>
              <a:ea typeface="Calibri" panose="020F0502020204030204" pitchFamily="34" charset="0"/>
              <a:cs typeface="+mn-cs"/>
            </a:endParaRPr>
          </a:p>
        </p:txBody>
      </p:sp>
      <p:pic>
        <p:nvPicPr>
          <p:cNvPr id="16" name="Picture 15">
            <a:extLst>
              <a:ext uri="{FF2B5EF4-FFF2-40B4-BE49-F238E27FC236}">
                <a16:creationId xmlns:a16="http://schemas.microsoft.com/office/drawing/2014/main" id="{91E9ADFF-CB9F-36A9-83B0-E728ACDB9726}"/>
              </a:ext>
            </a:extLst>
          </p:cNvPr>
          <p:cNvPicPr>
            <a:picLocks noChangeAspect="1"/>
          </p:cNvPicPr>
          <p:nvPr/>
        </p:nvPicPr>
        <p:blipFill>
          <a:blip r:embed="rId3"/>
          <a:stretch>
            <a:fillRect/>
          </a:stretch>
        </p:blipFill>
        <p:spPr>
          <a:xfrm>
            <a:off x="5589755" y="1981191"/>
            <a:ext cx="6309907" cy="749873"/>
          </a:xfrm>
          <a:prstGeom prst="rect">
            <a:avLst/>
          </a:prstGeom>
        </p:spPr>
      </p:pic>
      <p:pic>
        <p:nvPicPr>
          <p:cNvPr id="17" name="Picture 16">
            <a:extLst>
              <a:ext uri="{FF2B5EF4-FFF2-40B4-BE49-F238E27FC236}">
                <a16:creationId xmlns:a16="http://schemas.microsoft.com/office/drawing/2014/main" id="{465455F1-DC5F-DA6A-4277-66A0FECC92D4}"/>
              </a:ext>
            </a:extLst>
          </p:cNvPr>
          <p:cNvPicPr>
            <a:picLocks noChangeAspect="1"/>
          </p:cNvPicPr>
          <p:nvPr/>
        </p:nvPicPr>
        <p:blipFill>
          <a:blip r:embed="rId4"/>
          <a:stretch>
            <a:fillRect/>
          </a:stretch>
        </p:blipFill>
        <p:spPr>
          <a:xfrm>
            <a:off x="5589755" y="5189212"/>
            <a:ext cx="6309907" cy="749873"/>
          </a:xfrm>
          <a:prstGeom prst="rect">
            <a:avLst/>
          </a:prstGeom>
        </p:spPr>
      </p:pic>
      <p:sp>
        <p:nvSpPr>
          <p:cNvPr id="19" name="TextBox 18">
            <a:extLst>
              <a:ext uri="{FF2B5EF4-FFF2-40B4-BE49-F238E27FC236}">
                <a16:creationId xmlns:a16="http://schemas.microsoft.com/office/drawing/2014/main" id="{028AA741-BD72-15B3-8DE6-FE05E9FF3E1F}"/>
              </a:ext>
            </a:extLst>
          </p:cNvPr>
          <p:cNvSpPr txBox="1"/>
          <p:nvPr/>
        </p:nvSpPr>
        <p:spPr>
          <a:xfrm>
            <a:off x="5824637" y="5774300"/>
            <a:ext cx="6315958" cy="416204"/>
          </a:xfrm>
          <a:prstGeom prst="rect">
            <a:avLst/>
          </a:prstGeom>
          <a:noFill/>
        </p:spPr>
        <p:txBody>
          <a:bodyPr wrap="square">
            <a:spAutoFit/>
          </a:bodyPr>
          <a:lstStyle/>
          <a:p>
            <a:pPr marL="227013" marR="0" lvl="0" indent="-227013" algn="l" defTabSz="914400" rtl="0" eaLnBrk="1" fontAlgn="auto" latinLnBrk="0" hangingPunct="1">
              <a:lnSpc>
                <a:spcPct val="115000"/>
              </a:lnSpc>
              <a:spcBef>
                <a:spcPts val="0"/>
              </a:spcBef>
              <a:spcAft>
                <a:spcPts val="1200"/>
              </a:spcAft>
              <a:buClr>
                <a:srgbClr val="915FC8">
                  <a:lumMod val="75000"/>
                </a:srgbClr>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283897"/>
                </a:solidFill>
                <a:effectLst/>
                <a:uLnTx/>
                <a:uFillTx/>
                <a:latin typeface="Arial" panose="020B0604020202020204" pitchFamily="34" charset="0"/>
                <a:ea typeface="+mn-ea"/>
                <a:cs typeface="+mn-cs"/>
              </a:rPr>
              <a:t>Visit the Stars of Finance page on Sodexo_Net</a:t>
            </a:r>
          </a:p>
        </p:txBody>
      </p:sp>
      <p:grpSp>
        <p:nvGrpSpPr>
          <p:cNvPr id="21" name="Group 20">
            <a:extLst>
              <a:ext uri="{FF2B5EF4-FFF2-40B4-BE49-F238E27FC236}">
                <a16:creationId xmlns:a16="http://schemas.microsoft.com/office/drawing/2014/main" id="{D29B8580-C7C6-0880-CFD2-6D9723ACD447}"/>
              </a:ext>
            </a:extLst>
          </p:cNvPr>
          <p:cNvGrpSpPr/>
          <p:nvPr/>
        </p:nvGrpSpPr>
        <p:grpSpPr>
          <a:xfrm>
            <a:off x="0" y="0"/>
            <a:ext cx="12192000" cy="1950720"/>
            <a:chOff x="0" y="0"/>
            <a:chExt cx="12192000" cy="1950720"/>
          </a:xfrm>
        </p:grpSpPr>
        <p:pic>
          <p:nvPicPr>
            <p:cNvPr id="7" name="Picture 6" descr="A group of stars in the sky&#10;&#10;Description automatically generated">
              <a:extLst>
                <a:ext uri="{FF2B5EF4-FFF2-40B4-BE49-F238E27FC236}">
                  <a16:creationId xmlns:a16="http://schemas.microsoft.com/office/drawing/2014/main" id="{2BD2B7DA-2E63-B607-A36C-376D9D1F72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1950720"/>
            </a:xfrm>
            <a:prstGeom prst="rect">
              <a:avLst/>
            </a:prstGeom>
          </p:spPr>
        </p:pic>
        <p:pic>
          <p:nvPicPr>
            <p:cNvPr id="20" name="Picture 19">
              <a:extLst>
                <a:ext uri="{FF2B5EF4-FFF2-40B4-BE49-F238E27FC236}">
                  <a16:creationId xmlns:a16="http://schemas.microsoft.com/office/drawing/2014/main" id="{68EE24B5-B5EF-79F7-E642-3F6F1330C63C}"/>
                </a:ext>
              </a:extLst>
            </p:cNvPr>
            <p:cNvPicPr>
              <a:picLocks noChangeAspect="1"/>
            </p:cNvPicPr>
            <p:nvPr/>
          </p:nvPicPr>
          <p:blipFill rotWithShape="1">
            <a:blip r:embed="rId6"/>
            <a:srcRect r="7534"/>
            <a:stretch/>
          </p:blipFill>
          <p:spPr>
            <a:xfrm>
              <a:off x="7067788" y="463251"/>
              <a:ext cx="5124212" cy="1024217"/>
            </a:xfrm>
            <a:prstGeom prst="rect">
              <a:avLst/>
            </a:prstGeom>
          </p:spPr>
        </p:pic>
      </p:grpSp>
      <p:sp>
        <p:nvSpPr>
          <p:cNvPr id="2" name="Footer Placeholder 1">
            <a:extLst>
              <a:ext uri="{FF2B5EF4-FFF2-40B4-BE49-F238E27FC236}">
                <a16:creationId xmlns:a16="http://schemas.microsoft.com/office/drawing/2014/main" id="{83F048A6-423D-A357-59D2-1494A189D60E}"/>
              </a:ext>
            </a:extLst>
          </p:cNvPr>
          <p:cNvSpPr>
            <a:spLocks noGrp="1"/>
          </p:cNvSpPr>
          <p:nvPr>
            <p:ph type="ftr" sz="quarter" idx="10"/>
          </p:nvPr>
        </p:nvSpPr>
        <p:spPr/>
        <p:txBody>
          <a:bodyPr/>
          <a:lstStyle/>
          <a:p>
            <a:r>
              <a:rPr lang="en-US"/>
              <a:t>Unit Controller Call Series © Sodexo, July 2024.  All rights Reserved</a:t>
            </a:r>
            <a:endParaRPr lang="en-GB" dirty="0"/>
          </a:p>
        </p:txBody>
      </p:sp>
    </p:spTree>
    <p:extLst>
      <p:ext uri="{BB962C8B-B14F-4D97-AF65-F5344CB8AC3E}">
        <p14:creationId xmlns:p14="http://schemas.microsoft.com/office/powerpoint/2010/main" val="20788642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75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260C379-D90D-AF49-6850-73D57E336050}"/>
              </a:ext>
            </a:extLst>
          </p:cNvPr>
          <p:cNvSpPr txBox="1"/>
          <p:nvPr/>
        </p:nvSpPr>
        <p:spPr>
          <a:xfrm>
            <a:off x="247688" y="914400"/>
            <a:ext cx="11696624" cy="563231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Know your area’s risk for thunderstorms. In most places they can occur year-round at any hou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Thunderstorms are dangerous storms that include lightning and can create or ca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owerful winds over 50 mp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Hai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Flash flooding and/or tornado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1B1B"/>
                </a:solidFill>
                <a:effectLst/>
                <a:uLnTx/>
                <a:uFillTx/>
                <a:latin typeface="Source Sans Pro Web"/>
                <a:ea typeface="+mn-ea"/>
                <a:cs typeface="+mn-cs"/>
              </a:rPr>
              <a:t>If you are under a thunderstorm wa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When thunder roars, go indoors! Move from outdoors into a building or car with a roo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ay attention to alerts and warn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Avoid using electronic devices connected to an electrical outl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Avoid running wa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Turn Around. Don’t Drown! Do not drive through flooded roadways. Just six inches of fast-moving water can knock you down, and one foot of moving water can sweep your vehicle a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Pay attention to authorities and weather forecasts for information on whether it is safe to go outside and instructions regarding potential flash floo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Watch for fallen power lines and trees. Report them immediate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For more information, visit: </a:t>
            </a:r>
            <a:r>
              <a:rPr kumimoji="0" lang="en-US" sz="1800" b="0" i="0" u="sng" strike="noStrike" kern="1200" cap="none" spc="0" normalizeH="0" baseline="0" noProof="0" dirty="0">
                <a:ln>
                  <a:noFill/>
                </a:ln>
                <a:solidFill>
                  <a:srgbClr val="005A9E"/>
                </a:solidFill>
                <a:effectLst/>
                <a:uLnTx/>
                <a:uFillTx/>
                <a:latin typeface="Arial" panose="020B0604020202020204" pitchFamily="34" charset="0"/>
                <a:ea typeface="+mn-ea"/>
                <a:cs typeface="Arial" panose="020B0604020202020204" pitchFamily="34" charset="0"/>
                <a:hlinkClick r:id="rId3" tooltip="https://www.ready.gov/thunderstorms-lightning"/>
              </a:rPr>
              <a:t>Thunderstorms &amp; Lightning | Ready.gov</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BC8EFB33-AF08-3F84-80C1-5E0AB7F6DE9D}"/>
              </a:ext>
            </a:extLst>
          </p:cNvPr>
          <p:cNvSpPr txBox="1">
            <a:spLocks/>
          </p:cNvSpPr>
          <p:nvPr/>
        </p:nvSpPr>
        <p:spPr bwMode="gray">
          <a:xfrm rot="5400000">
            <a:off x="5820455" y="-5347262"/>
            <a:ext cx="551090" cy="11696624"/>
          </a:xfrm>
          <a:prstGeom prst="rect">
            <a:avLst/>
          </a:prstGeom>
          <a:solidFill>
            <a:srgbClr val="FF0000"/>
          </a:solidFill>
          <a:ln>
            <a:noFill/>
          </a:ln>
          <a:effectLst/>
        </p:spPr>
        <p:txBody>
          <a:bodyPr vert="vert270" wrap="square" lIns="108000" tIns="126000" rIns="72000" bIns="90000" numCol="1" anchor="t" anchorCtr="0" compatLnSpc="1">
            <a:prstTxWarp prst="textNoShape">
              <a:avLst/>
            </a:prstTxWarp>
            <a:spAutoFit/>
          </a:bodyPr>
          <a:lstStyle>
            <a:lvl1pPr algn="l" rtl="0" eaLnBrk="1" fontAlgn="base" hangingPunct="1">
              <a:lnSpc>
                <a:spcPct val="90000"/>
              </a:lnSpc>
              <a:spcBef>
                <a:spcPct val="0"/>
              </a:spcBef>
              <a:spcAft>
                <a:spcPct val="0"/>
              </a:spcAft>
              <a:defRPr lang="fr-FR" sz="2400" dirty="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ea typeface="+mj-ea"/>
                <a:cs typeface="+mj-cs"/>
              </a:rPr>
              <a:t>Stay Safe During Thunderstorms &amp; Lightning</a:t>
            </a:r>
          </a:p>
        </p:txBody>
      </p:sp>
      <p:pic>
        <p:nvPicPr>
          <p:cNvPr id="4" name="Picture 3">
            <a:extLst>
              <a:ext uri="{FF2B5EF4-FFF2-40B4-BE49-F238E27FC236}">
                <a16:creationId xmlns:a16="http://schemas.microsoft.com/office/drawing/2014/main" id="{1102A155-1B69-4DE2-93C2-35E93FF164D9}"/>
              </a:ext>
            </a:extLst>
          </p:cNvPr>
          <p:cNvPicPr>
            <a:picLocks noChangeAspect="1"/>
          </p:cNvPicPr>
          <p:nvPr/>
        </p:nvPicPr>
        <p:blipFill>
          <a:blip r:embed="rId4"/>
          <a:stretch>
            <a:fillRect/>
          </a:stretch>
        </p:blipFill>
        <p:spPr>
          <a:xfrm>
            <a:off x="9308381" y="1330780"/>
            <a:ext cx="2635931" cy="1986579"/>
          </a:xfrm>
          <a:prstGeom prst="rect">
            <a:avLst/>
          </a:prstGeom>
        </p:spPr>
      </p:pic>
    </p:spTree>
    <p:extLst>
      <p:ext uri="{BB962C8B-B14F-4D97-AF65-F5344CB8AC3E}">
        <p14:creationId xmlns:p14="http://schemas.microsoft.com/office/powerpoint/2010/main" val="4096609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descr="Let's Collect It for Q1 FY24&#10;&#10;Deadline for November Payments">
            <a:extLst>
              <a:ext uri="{FF2B5EF4-FFF2-40B4-BE49-F238E27FC236}">
                <a16:creationId xmlns:a16="http://schemas.microsoft.com/office/drawing/2014/main" id="{59A701CF-F006-289D-8CE9-7C4C773D71E0}"/>
              </a:ext>
            </a:extLst>
          </p:cNvPr>
          <p:cNvSpPr>
            <a:spLocks noGrp="1"/>
          </p:cNvSpPr>
          <p:nvPr>
            <p:ph type="pic" sz="quarter" idx="64"/>
          </p:nvPr>
        </p:nvSpPr>
        <p:spPr/>
        <p:txBody>
          <a:bodyPr/>
          <a:lstStyle/>
          <a:p>
            <a:endParaRPr lang="en-US" dirty="0"/>
          </a:p>
        </p:txBody>
      </p:sp>
      <p:sp>
        <p:nvSpPr>
          <p:cNvPr id="6" name="Title 5" descr="Let's Collect It for Q3 FY24">
            <a:extLst>
              <a:ext uri="{FF2B5EF4-FFF2-40B4-BE49-F238E27FC236}">
                <a16:creationId xmlns:a16="http://schemas.microsoft.com/office/drawing/2014/main" id="{FD019D83-AD07-00FF-17C0-768317633E7A}"/>
              </a:ext>
            </a:extLst>
          </p:cNvPr>
          <p:cNvSpPr>
            <a:spLocks noGrp="1"/>
          </p:cNvSpPr>
          <p:nvPr>
            <p:ph type="title" idx="4294967295"/>
          </p:nvPr>
        </p:nvSpPr>
        <p:spPr>
          <a:xfrm>
            <a:off x="439432" y="1212895"/>
            <a:ext cx="7864813" cy="590996"/>
          </a:xfrm>
        </p:spPr>
        <p:txBody>
          <a:bodyPr/>
          <a:lstStyle/>
          <a:p>
            <a:pPr algn="ctr"/>
            <a:r>
              <a:rPr lang="en-US" sz="4267" dirty="0">
                <a:solidFill>
                  <a:srgbClr val="FF0000"/>
                </a:solidFill>
              </a:rPr>
              <a:t>Let’s Collect It for Q4 FY24!</a:t>
            </a:r>
            <a:endParaRPr lang="en-US" dirty="0"/>
          </a:p>
        </p:txBody>
      </p:sp>
      <p:sp>
        <p:nvSpPr>
          <p:cNvPr id="4" name="Text Placeholder 3" descr="Deadlines for May Payments">
            <a:extLst>
              <a:ext uri="{FF2B5EF4-FFF2-40B4-BE49-F238E27FC236}">
                <a16:creationId xmlns:a16="http://schemas.microsoft.com/office/drawing/2014/main" id="{6CCD6B96-88D0-A9A4-A83B-741CB53F9B95}"/>
              </a:ext>
            </a:extLst>
          </p:cNvPr>
          <p:cNvSpPr>
            <a:spLocks noGrp="1"/>
          </p:cNvSpPr>
          <p:nvPr>
            <p:ph type="body" sz="quarter" idx="65"/>
          </p:nvPr>
        </p:nvSpPr>
        <p:spPr/>
        <p:txBody>
          <a:bodyPr/>
          <a:lstStyle/>
          <a:p>
            <a:pPr>
              <a:lnSpc>
                <a:spcPct val="100000"/>
              </a:lnSpc>
            </a:pPr>
            <a:endParaRPr lang="en-US" sz="3200" dirty="0"/>
          </a:p>
          <a:p>
            <a:pPr>
              <a:lnSpc>
                <a:spcPct val="100000"/>
              </a:lnSpc>
            </a:pPr>
            <a:r>
              <a:rPr lang="en-US" sz="3200" dirty="0"/>
              <a:t>Deadline for August 2024 Payments</a:t>
            </a:r>
          </a:p>
        </p:txBody>
      </p:sp>
      <p:sp>
        <p:nvSpPr>
          <p:cNvPr id="5" name="Footer Placeholder 4">
            <a:extLst>
              <a:ext uri="{FF2B5EF4-FFF2-40B4-BE49-F238E27FC236}">
                <a16:creationId xmlns:a16="http://schemas.microsoft.com/office/drawing/2014/main" id="{68D3BE57-9765-A655-205D-3FE49CC69A1E}"/>
              </a:ext>
            </a:extLst>
          </p:cNvPr>
          <p:cNvSpPr>
            <a:spLocks noGrp="1"/>
          </p:cNvSpPr>
          <p:nvPr>
            <p:ph type="ftr" sz="quarter" idx="66"/>
          </p:nvPr>
        </p:nvSpPr>
        <p:spPr/>
        <p:txBody>
          <a:bodyPr/>
          <a:lstStyle/>
          <a:p>
            <a:pPr defTabSz="1088470"/>
            <a:r>
              <a:rPr lang="en-US">
                <a:solidFill>
                  <a:prstClr val="white"/>
                </a:solidFill>
                <a:latin typeface="Arial" panose="020B0604020202020204"/>
              </a:rPr>
              <a:t>Unit Controller Call Series © Sodexo, July 2024.  All rights Reserved</a:t>
            </a:r>
            <a:endParaRPr lang="en-US" dirty="0">
              <a:solidFill>
                <a:prstClr val="white"/>
              </a:solidFill>
              <a:latin typeface="Arial" panose="020B0604020202020204"/>
            </a:endParaRPr>
          </a:p>
        </p:txBody>
      </p:sp>
    </p:spTree>
    <p:extLst>
      <p:ext uri="{BB962C8B-B14F-4D97-AF65-F5344CB8AC3E}">
        <p14:creationId xmlns:p14="http://schemas.microsoft.com/office/powerpoint/2010/main" val="396012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Accounts Receivable Collection Deadlines for Quarter 3, FY24"/>
          <p:cNvSpPr>
            <a:spLocks noGrp="1"/>
          </p:cNvSpPr>
          <p:nvPr>
            <p:ph type="title"/>
          </p:nvPr>
        </p:nvSpPr>
        <p:spPr>
          <a:solidFill>
            <a:srgbClr val="25359C"/>
          </a:solidFill>
        </p:spPr>
        <p:txBody>
          <a:bodyPr/>
          <a:lstStyle/>
          <a:p>
            <a:pPr marL="0" indent="0">
              <a:buNone/>
            </a:pPr>
            <a:r>
              <a:rPr lang="en-US" sz="3200" dirty="0">
                <a:solidFill>
                  <a:schemeClr val="bg1"/>
                </a:solidFill>
              </a:rPr>
              <a:t> Collection Deadline for Quarter 4, FY24</a:t>
            </a:r>
          </a:p>
        </p:txBody>
      </p:sp>
      <p:sp>
        <p:nvSpPr>
          <p:cNvPr id="2" name="TextBox 1" descr="Your help is needed to increase our cash flow. To ensure that your AR payments, bank deposits, cash receipts, and cash balances are properly credited for Quarter 3, all deposits must be made on or before May 31st, 2024.&#10;&#10;Page 3 will have the deadlines for Electronic Payments and page 4 for check payments&#10;&#10;A reminder, the preferred method of invoice payments is via ACH.  ACH payments are more secure and less costly.&#10;Please contact Accounts Receivable at AccountsReceivable.NorAm@sodexo.com or 1-800-828-7762, Option 2, Option 2 for more information and to request the ACH details for your client">
            <a:extLst>
              <a:ext uri="{FF2B5EF4-FFF2-40B4-BE49-F238E27FC236}">
                <a16:creationId xmlns:a16="http://schemas.microsoft.com/office/drawing/2014/main" id="{63F2127E-860B-45AF-B612-29AB2A355EB5}"/>
              </a:ext>
            </a:extLst>
          </p:cNvPr>
          <p:cNvSpPr txBox="1"/>
          <p:nvPr/>
        </p:nvSpPr>
        <p:spPr>
          <a:xfrm>
            <a:off x="815413" y="1028734"/>
            <a:ext cx="10657184" cy="5888663"/>
          </a:xfrm>
          <a:prstGeom prst="rect">
            <a:avLst/>
          </a:prstGeom>
          <a:noFill/>
        </p:spPr>
        <p:txBody>
          <a:bodyPr wrap="square" rtlCol="0">
            <a:spAutoFit/>
          </a:bodyPr>
          <a:lstStyle/>
          <a:p>
            <a:pPr defTabSz="1219170">
              <a:defRPr/>
            </a:pPr>
            <a:r>
              <a:rPr lang="en-US" sz="2133" kern="0" dirty="0">
                <a:solidFill>
                  <a:srgbClr val="2A295C"/>
                </a:solidFill>
                <a:latin typeface="Arial"/>
              </a:rPr>
              <a:t>Your help is needed to increase our cash flow. To ensure that your AR payments, bank deposits, cash receipts, and cash balances are properly credited for Quarter 4, all deposits must be made on or before </a:t>
            </a:r>
            <a:r>
              <a:rPr lang="en-US" sz="2133" b="1" kern="0" dirty="0">
                <a:solidFill>
                  <a:srgbClr val="FF0000"/>
                </a:solidFill>
                <a:latin typeface="Arial"/>
              </a:rPr>
              <a:t>Friday August 30</a:t>
            </a:r>
            <a:r>
              <a:rPr lang="en-US" sz="2133" b="1" kern="0" baseline="30000" dirty="0">
                <a:solidFill>
                  <a:srgbClr val="FF0000"/>
                </a:solidFill>
                <a:latin typeface="Arial"/>
              </a:rPr>
              <a:t>th</a:t>
            </a:r>
            <a:r>
              <a:rPr lang="en-US" sz="2133" b="1" kern="0" dirty="0">
                <a:solidFill>
                  <a:srgbClr val="2A295C"/>
                </a:solidFill>
                <a:latin typeface="Arial"/>
              </a:rPr>
              <a:t>.  </a:t>
            </a:r>
          </a:p>
          <a:p>
            <a:pPr defTabSz="1219170">
              <a:defRPr/>
            </a:pPr>
            <a:endParaRPr lang="en-US" sz="2133" b="1" kern="0" dirty="0">
              <a:solidFill>
                <a:srgbClr val="2A295C"/>
              </a:solidFill>
              <a:latin typeface="Arial"/>
            </a:endParaRPr>
          </a:p>
          <a:p>
            <a:pPr defTabSz="1219170">
              <a:defRPr/>
            </a:pPr>
            <a:r>
              <a:rPr lang="en-US" sz="2133" kern="0" dirty="0">
                <a:solidFill>
                  <a:srgbClr val="2A295C"/>
                </a:solidFill>
                <a:latin typeface="Arial"/>
              </a:rPr>
              <a:t>Please observe the following deadlines depending on your payment method.</a:t>
            </a:r>
          </a:p>
          <a:p>
            <a:pPr defTabSz="1219170">
              <a:defRPr/>
            </a:pPr>
            <a:endParaRPr lang="en-US" sz="2133" kern="0" dirty="0">
              <a:solidFill>
                <a:srgbClr val="2A295C"/>
              </a:solidFill>
              <a:latin typeface="Arial"/>
            </a:endParaRPr>
          </a:p>
          <a:p>
            <a:pPr defTabSz="1219170">
              <a:defRPr/>
            </a:pPr>
            <a:r>
              <a:rPr lang="en-US" sz="2133" kern="0" dirty="0">
                <a:solidFill>
                  <a:srgbClr val="2A295C"/>
                </a:solidFill>
                <a:latin typeface="Arial"/>
              </a:rPr>
              <a:t>Select the payment link(s) for your current payment method below for further details :</a:t>
            </a:r>
          </a:p>
          <a:p>
            <a:pPr defTabSz="1219170">
              <a:defRPr/>
            </a:pPr>
            <a:endParaRPr lang="en-US" sz="1400" kern="0" dirty="0">
              <a:solidFill>
                <a:prstClr val="black"/>
              </a:solidFill>
              <a:latin typeface="Calibri"/>
            </a:endParaRPr>
          </a:p>
          <a:p>
            <a:pPr defTabSz="1219170">
              <a:defRPr/>
            </a:pPr>
            <a:r>
              <a:rPr lang="en-US" sz="2400" b="1" kern="0" dirty="0">
                <a:solidFill>
                  <a:srgbClr val="FF0000"/>
                </a:solidFill>
                <a:latin typeface="Calibri"/>
                <a:hlinkClick r:id="rId2" action="ppaction://hlinksldjump">
                  <a:extLst>
                    <a:ext uri="{A12FA001-AC4F-418D-AE19-62706E023703}">
                      <ahyp:hlinkClr xmlns:ahyp="http://schemas.microsoft.com/office/drawing/2018/hyperlinkcolor" val="tx"/>
                    </a:ext>
                  </a:extLst>
                </a:hlinkClick>
              </a:rPr>
              <a:t>ELECTRONIC (ACH/WIRE) PAYMENTS</a:t>
            </a:r>
            <a:r>
              <a:rPr lang="en-US" sz="2400" b="1" kern="0" dirty="0">
                <a:solidFill>
                  <a:srgbClr val="FF0000"/>
                </a:solidFill>
                <a:latin typeface="Calibri"/>
              </a:rPr>
              <a:t> </a:t>
            </a:r>
          </a:p>
          <a:p>
            <a:pPr defTabSz="1219170">
              <a:defRPr/>
            </a:pPr>
            <a:r>
              <a:rPr lang="en-US" sz="2400" b="1" kern="0" dirty="0">
                <a:solidFill>
                  <a:srgbClr val="FF0000"/>
                </a:solidFill>
                <a:latin typeface="Calibri"/>
                <a:hlinkClick r:id="rId3" action="ppaction://hlinksldjump">
                  <a:extLst>
                    <a:ext uri="{A12FA001-AC4F-418D-AE19-62706E023703}">
                      <ahyp:hlinkClr xmlns:ahyp="http://schemas.microsoft.com/office/drawing/2018/hyperlinkcolor" val="tx"/>
                    </a:ext>
                  </a:extLst>
                </a:hlinkClick>
              </a:rPr>
              <a:t>CHECK PAYMENTS</a:t>
            </a:r>
            <a:endParaRPr lang="en-US" sz="2400" b="1" kern="0" dirty="0">
              <a:solidFill>
                <a:srgbClr val="FF0000"/>
              </a:solidFill>
              <a:latin typeface="Calibri"/>
            </a:endParaRPr>
          </a:p>
          <a:p>
            <a:pPr defTabSz="1219170">
              <a:defRPr/>
            </a:pPr>
            <a:endParaRPr lang="en-US" sz="2400" b="1" kern="0" dirty="0">
              <a:solidFill>
                <a:srgbClr val="FF0000"/>
              </a:solidFill>
              <a:latin typeface="Calibri"/>
            </a:endParaRPr>
          </a:p>
          <a:p>
            <a:pPr defTabSz="1088470"/>
            <a:r>
              <a:rPr lang="en-US" sz="1867" dirty="0">
                <a:solidFill>
                  <a:srgbClr val="2A295C"/>
                </a:solidFill>
                <a:latin typeface="Arial"/>
                <a:ea typeface="Calibri" panose="020F0502020204030204" pitchFamily="34" charset="0"/>
                <a:cs typeface="Calibri" panose="020F0502020204030204" pitchFamily="34" charset="0"/>
              </a:rPr>
              <a:t>REMINDER:</a:t>
            </a:r>
          </a:p>
          <a:p>
            <a:pPr defTabSz="1088470"/>
            <a:r>
              <a:rPr lang="en-US" sz="1867" dirty="0">
                <a:solidFill>
                  <a:srgbClr val="2A295C"/>
                </a:solidFill>
                <a:latin typeface="Arial"/>
                <a:ea typeface="Calibri" panose="020F0502020204030204" pitchFamily="34" charset="0"/>
              </a:rPr>
              <a:t>The preferred method of invoice payments is ACH. ACH payments are timely, more secure and less costly.</a:t>
            </a:r>
          </a:p>
          <a:p>
            <a:pPr defTabSz="1088470"/>
            <a:r>
              <a:rPr lang="en-US" sz="1867" dirty="0">
                <a:solidFill>
                  <a:srgbClr val="2A295C"/>
                </a:solidFill>
                <a:latin typeface="Arial"/>
                <a:ea typeface="Calibri" panose="020F0502020204030204" pitchFamily="34" charset="0"/>
              </a:rPr>
              <a:t>Please contact Accounts Receivable at </a:t>
            </a:r>
            <a:r>
              <a:rPr lang="en-US" sz="1867" dirty="0">
                <a:solidFill>
                  <a:srgbClr val="000000"/>
                </a:solidFill>
                <a:latin typeface="Arial"/>
                <a:hlinkClick r:id="rId4"/>
              </a:rPr>
              <a:t>AccountsReceivable.NorAm@sodexo.com</a:t>
            </a:r>
            <a:r>
              <a:rPr lang="en-US" sz="1867" dirty="0">
                <a:solidFill>
                  <a:srgbClr val="000000"/>
                </a:solidFill>
                <a:latin typeface="Arial"/>
              </a:rPr>
              <a:t> or </a:t>
            </a:r>
            <a:r>
              <a:rPr lang="en-US" sz="1867" dirty="0">
                <a:solidFill>
                  <a:srgbClr val="2A295C"/>
                </a:solidFill>
                <a:latin typeface="Arial"/>
              </a:rPr>
              <a:t>1-800-828-7762, Option 2, Option 2</a:t>
            </a:r>
            <a:r>
              <a:rPr lang="en-US" sz="1867" dirty="0">
                <a:solidFill>
                  <a:srgbClr val="2A295C"/>
                </a:solidFill>
                <a:latin typeface="Arial"/>
                <a:ea typeface="Calibri" panose="020F0502020204030204" pitchFamily="34" charset="0"/>
              </a:rPr>
              <a:t> for more information and to request the ACH details for your client.</a:t>
            </a:r>
          </a:p>
          <a:p>
            <a:pPr defTabSz="1219170">
              <a:defRPr/>
            </a:pPr>
            <a:endParaRPr lang="en-US" sz="2400" b="1" kern="0" dirty="0">
              <a:solidFill>
                <a:srgbClr val="FF0000"/>
              </a:solidFill>
              <a:latin typeface="Calibri"/>
            </a:endParaRPr>
          </a:p>
          <a:p>
            <a:pPr defTabSz="1219170">
              <a:defRPr/>
            </a:pPr>
            <a:endParaRPr lang="en-US" sz="2400" b="1" kern="0" dirty="0">
              <a:solidFill>
                <a:srgbClr val="2A295C"/>
              </a:solidFill>
              <a:latin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Electronic Payment deadlines for Quarter 2 Fiscal Year 2024">
            <a:extLst>
              <a:ext uri="{FF2B5EF4-FFF2-40B4-BE49-F238E27FC236}">
                <a16:creationId xmlns:a16="http://schemas.microsoft.com/office/drawing/2014/main" id="{50DB6245-148E-4549-B259-E58EA410ECFE}"/>
              </a:ext>
            </a:extLst>
          </p:cNvPr>
          <p:cNvSpPr>
            <a:spLocks noGrp="1"/>
          </p:cNvSpPr>
          <p:nvPr>
            <p:ph type="title"/>
          </p:nvPr>
        </p:nvSpPr>
        <p:spPr>
          <a:solidFill>
            <a:srgbClr val="25359C"/>
          </a:solidFill>
        </p:spPr>
        <p:txBody>
          <a:bodyPr/>
          <a:lstStyle/>
          <a:p>
            <a:r>
              <a:rPr lang="en-US" sz="3200" dirty="0">
                <a:solidFill>
                  <a:schemeClr val="bg1"/>
                </a:solidFill>
              </a:rPr>
              <a:t>Electronic Payments – Deadline for Quarter 4 FY24</a:t>
            </a:r>
          </a:p>
        </p:txBody>
      </p:sp>
      <p:sp>
        <p:nvSpPr>
          <p:cNvPr id="5" name="TextBox 4" descr="Client ACH payments post to Sodexo’s bank account 1 to 2 business days after the client releases the payment to their bank. Determine with your client Finance or AP Department whether their bank ACH is 1- or 2-Day processing. ">
            <a:extLst>
              <a:ext uri="{FF2B5EF4-FFF2-40B4-BE49-F238E27FC236}">
                <a16:creationId xmlns:a16="http://schemas.microsoft.com/office/drawing/2014/main" id="{6B929A5C-0417-43BA-BDDF-0206751F32EE}"/>
              </a:ext>
            </a:extLst>
          </p:cNvPr>
          <p:cNvSpPr txBox="1"/>
          <p:nvPr/>
        </p:nvSpPr>
        <p:spPr>
          <a:xfrm>
            <a:off x="527382" y="1124744"/>
            <a:ext cx="10850297" cy="1077026"/>
          </a:xfrm>
          <a:prstGeom prst="rect">
            <a:avLst/>
          </a:prstGeom>
          <a:noFill/>
        </p:spPr>
        <p:txBody>
          <a:bodyPr wrap="square" rtlCol="0">
            <a:spAutoFit/>
          </a:bodyPr>
          <a:lstStyle/>
          <a:p>
            <a:pPr defTabSz="1088470">
              <a:buClr>
                <a:srgbClr val="FF0000"/>
              </a:buClr>
              <a:buSzPct val="110000"/>
            </a:pPr>
            <a:r>
              <a:rPr lang="en-US" sz="2133" dirty="0">
                <a:solidFill>
                  <a:srgbClr val="2A295C"/>
                </a:solidFill>
                <a:latin typeface="Arial"/>
              </a:rPr>
              <a:t>Client ACH payments post to Sodexo’s bank account 1 to 2 business days after the client releases the payment to their bank. Determine with your client Finance or AP Department whether their bank ACH is 1- or 2-Day processing. </a:t>
            </a:r>
          </a:p>
        </p:txBody>
      </p:sp>
      <p:sp>
        <p:nvSpPr>
          <p:cNvPr id="6" name="TextBox 5" descr="If the ACH is 2-day processing, ACH must be released from client's bank on or before May 29th. It must have  a value date of May 31st.&#10;If the ACH is 1-day processing, ACH must be released from the client's bank on or before Thursday May 30th   with a value date of May 31st.&#10;If the client is a doing a same day wire transfer on Friday May 31st, it must be released May 31st with a value date of May 31st ">
            <a:extLst>
              <a:ext uri="{FF2B5EF4-FFF2-40B4-BE49-F238E27FC236}">
                <a16:creationId xmlns:a16="http://schemas.microsoft.com/office/drawing/2014/main" id="{73249C4E-EA87-4DEC-8B25-37AA8F138C89}"/>
              </a:ext>
            </a:extLst>
          </p:cNvPr>
          <p:cNvSpPr txBox="1"/>
          <p:nvPr/>
        </p:nvSpPr>
        <p:spPr>
          <a:xfrm>
            <a:off x="508770" y="2542410"/>
            <a:ext cx="10845052" cy="3785652"/>
          </a:xfrm>
          <a:prstGeom prst="rect">
            <a:avLst/>
          </a:prstGeom>
          <a:noFill/>
        </p:spPr>
        <p:txBody>
          <a:bodyPr wrap="square" rtlCol="0">
            <a:spAutoFit/>
          </a:bodyPr>
          <a:lstStyle/>
          <a:p>
            <a:pPr marL="380990" indent="-380990" defTabSz="1088470">
              <a:buClr>
                <a:srgbClr val="FF0000"/>
              </a:buClr>
              <a:buSzPct val="110000"/>
              <a:buFont typeface="Wingdings" panose="05000000000000000000" pitchFamily="2" charset="2"/>
              <a:buChar char="§"/>
            </a:pPr>
            <a:r>
              <a:rPr lang="en-US" sz="2400" dirty="0">
                <a:solidFill>
                  <a:srgbClr val="FF0000"/>
                </a:solidFill>
                <a:latin typeface="Arial"/>
              </a:rPr>
              <a:t>2 Day ACH: Wednesday August 28</a:t>
            </a:r>
            <a:r>
              <a:rPr lang="en-US" sz="2400" baseline="30000" dirty="0">
                <a:solidFill>
                  <a:srgbClr val="FF0000"/>
                </a:solidFill>
                <a:latin typeface="Arial"/>
              </a:rPr>
              <a:t>th</a:t>
            </a:r>
            <a:r>
              <a:rPr lang="en-US" sz="2400" dirty="0">
                <a:solidFill>
                  <a:srgbClr val="FF0000"/>
                </a:solidFill>
                <a:latin typeface="Arial"/>
              </a:rPr>
              <a:t> </a:t>
            </a:r>
          </a:p>
          <a:p>
            <a:pPr defTabSz="1088470"/>
            <a:r>
              <a:rPr lang="en-US" sz="2400" dirty="0">
                <a:solidFill>
                  <a:srgbClr val="2A295C"/>
                </a:solidFill>
                <a:latin typeface="Arial"/>
              </a:rPr>
              <a:t>	If ACH is 2-day processing, ACH must be released from client’s bank 	on or before the 28</a:t>
            </a:r>
            <a:r>
              <a:rPr lang="en-US" sz="2400" baseline="30000" dirty="0">
                <a:solidFill>
                  <a:srgbClr val="2A295C"/>
                </a:solidFill>
                <a:latin typeface="Arial"/>
              </a:rPr>
              <a:t>th</a:t>
            </a:r>
            <a:r>
              <a:rPr lang="en-US" sz="2400" dirty="0">
                <a:solidFill>
                  <a:srgbClr val="2A295C"/>
                </a:solidFill>
                <a:latin typeface="Arial"/>
              </a:rPr>
              <a:t> with a value date of August 30</a:t>
            </a:r>
            <a:r>
              <a:rPr lang="en-US" sz="2400" baseline="30000" dirty="0">
                <a:solidFill>
                  <a:srgbClr val="2A295C"/>
                </a:solidFill>
                <a:latin typeface="Arial"/>
              </a:rPr>
              <a:t>th</a:t>
            </a:r>
            <a:r>
              <a:rPr lang="en-US" sz="2400" dirty="0">
                <a:solidFill>
                  <a:srgbClr val="2A295C"/>
                </a:solidFill>
                <a:latin typeface="Arial"/>
              </a:rPr>
              <a:t> </a:t>
            </a:r>
          </a:p>
          <a:p>
            <a:pPr marL="380990" indent="-380990" defTabSz="1088470">
              <a:buClr>
                <a:srgbClr val="FF0000"/>
              </a:buClr>
              <a:buSzPct val="110000"/>
              <a:buFont typeface="Wingdings" panose="05000000000000000000" pitchFamily="2" charset="2"/>
              <a:buChar char="§"/>
            </a:pPr>
            <a:r>
              <a:rPr lang="en-US" sz="2400" dirty="0">
                <a:solidFill>
                  <a:srgbClr val="FF0000"/>
                </a:solidFill>
                <a:latin typeface="Arial"/>
              </a:rPr>
              <a:t>1 Day ACH: Thursday August 29</a:t>
            </a:r>
            <a:r>
              <a:rPr lang="en-US" sz="2400" baseline="30000" dirty="0">
                <a:solidFill>
                  <a:srgbClr val="FF0000"/>
                </a:solidFill>
                <a:latin typeface="Arial"/>
              </a:rPr>
              <a:t>th</a:t>
            </a:r>
            <a:r>
              <a:rPr lang="en-US" sz="2400" dirty="0">
                <a:solidFill>
                  <a:srgbClr val="FF0000"/>
                </a:solidFill>
                <a:latin typeface="Arial"/>
              </a:rPr>
              <a:t> </a:t>
            </a:r>
          </a:p>
          <a:p>
            <a:pPr marL="1088470" lvl="2" defTabSz="1088470">
              <a:buClr>
                <a:srgbClr val="FF0000"/>
              </a:buClr>
              <a:buSzPct val="110000"/>
            </a:pPr>
            <a:r>
              <a:rPr lang="en-US" sz="2400" dirty="0">
                <a:solidFill>
                  <a:srgbClr val="2A295C"/>
                </a:solidFill>
                <a:latin typeface="Arial"/>
              </a:rPr>
              <a:t>If ACH is a 1-day processing, ACH must be released from client’s bank on or before the 29</a:t>
            </a:r>
            <a:r>
              <a:rPr lang="en-US" sz="2400" baseline="30000" dirty="0">
                <a:solidFill>
                  <a:srgbClr val="2A295C"/>
                </a:solidFill>
                <a:latin typeface="Arial"/>
              </a:rPr>
              <a:t>th</a:t>
            </a:r>
            <a:r>
              <a:rPr lang="en-US" sz="2400" dirty="0">
                <a:solidFill>
                  <a:srgbClr val="2A295C"/>
                </a:solidFill>
                <a:latin typeface="Arial"/>
              </a:rPr>
              <a:t> with a value date of August 30</a:t>
            </a:r>
            <a:r>
              <a:rPr lang="en-US" sz="2400" baseline="30000" dirty="0">
                <a:solidFill>
                  <a:srgbClr val="2A295C"/>
                </a:solidFill>
                <a:latin typeface="Arial"/>
              </a:rPr>
              <a:t>th</a:t>
            </a:r>
            <a:endParaRPr lang="en-US" sz="2400" dirty="0">
              <a:solidFill>
                <a:srgbClr val="2A295C"/>
              </a:solidFill>
              <a:latin typeface="Arial"/>
            </a:endParaRPr>
          </a:p>
          <a:p>
            <a:pPr marL="380990" indent="-380990" defTabSz="1088470">
              <a:buClr>
                <a:srgbClr val="FF0000"/>
              </a:buClr>
              <a:buSzPct val="110000"/>
              <a:buFont typeface="Wingdings" panose="05000000000000000000" pitchFamily="2" charset="2"/>
              <a:buChar char="§"/>
            </a:pPr>
            <a:r>
              <a:rPr lang="en-US" sz="2400" dirty="0">
                <a:solidFill>
                  <a:srgbClr val="FF0000"/>
                </a:solidFill>
                <a:latin typeface="Arial"/>
              </a:rPr>
              <a:t>Friday August 30</a:t>
            </a:r>
            <a:r>
              <a:rPr lang="en-US" sz="2400" baseline="30000" dirty="0">
                <a:solidFill>
                  <a:srgbClr val="FF0000"/>
                </a:solidFill>
                <a:latin typeface="Arial"/>
              </a:rPr>
              <a:t>th</a:t>
            </a:r>
            <a:endParaRPr lang="en-US" sz="2400" dirty="0">
              <a:solidFill>
                <a:srgbClr val="FF0000"/>
              </a:solidFill>
              <a:latin typeface="Arial"/>
            </a:endParaRPr>
          </a:p>
          <a:p>
            <a:pPr marL="1088470" lvl="2" defTabSz="1088470">
              <a:buClr>
                <a:srgbClr val="FF0000"/>
              </a:buClr>
              <a:buSzPct val="110000"/>
            </a:pPr>
            <a:r>
              <a:rPr lang="en-US" sz="2400" dirty="0">
                <a:solidFill>
                  <a:srgbClr val="2A295C"/>
                </a:solidFill>
                <a:latin typeface="Arial"/>
              </a:rPr>
              <a:t>For client payments to post to Sodexo’s bank account on Friday August 30</a:t>
            </a:r>
            <a:r>
              <a:rPr lang="en-US" sz="2400" baseline="30000" dirty="0">
                <a:solidFill>
                  <a:srgbClr val="2A295C"/>
                </a:solidFill>
                <a:latin typeface="Arial"/>
              </a:rPr>
              <a:t>th</a:t>
            </a:r>
            <a:r>
              <a:rPr lang="en-US" sz="2400" dirty="0">
                <a:solidFill>
                  <a:srgbClr val="2A295C"/>
                </a:solidFill>
                <a:latin typeface="Arial"/>
              </a:rPr>
              <a:t>, client must initiate a SAME DAY electronic funds transfer payment on the 30</a:t>
            </a:r>
            <a:r>
              <a:rPr lang="en-US" sz="2400" baseline="30000" dirty="0">
                <a:solidFill>
                  <a:srgbClr val="2A295C"/>
                </a:solidFill>
                <a:latin typeface="Arial"/>
              </a:rPr>
              <a:t>th</a:t>
            </a:r>
            <a:r>
              <a:rPr lang="en-US" sz="2400" dirty="0">
                <a:solidFill>
                  <a:srgbClr val="2A295C"/>
                </a:solidFill>
                <a:latin typeface="Arial"/>
              </a:rPr>
              <a:t> with a </a:t>
            </a:r>
            <a:r>
              <a:rPr lang="en-US" sz="2400" u="sng" dirty="0">
                <a:solidFill>
                  <a:srgbClr val="2A295C"/>
                </a:solidFill>
                <a:latin typeface="Arial"/>
              </a:rPr>
              <a:t>value date of August 30</a:t>
            </a:r>
            <a:r>
              <a:rPr lang="en-US" sz="2400" u="sng" baseline="30000" dirty="0">
                <a:solidFill>
                  <a:srgbClr val="2A295C"/>
                </a:solidFill>
                <a:latin typeface="Arial"/>
              </a:rPr>
              <a:t>th</a:t>
            </a:r>
            <a:r>
              <a:rPr lang="en-US" sz="2400" u="sng" dirty="0">
                <a:solidFill>
                  <a:srgbClr val="2A295C"/>
                </a:solidFill>
                <a:latin typeface="Arial"/>
              </a:rPr>
              <a:t> </a:t>
            </a:r>
          </a:p>
        </p:txBody>
      </p:sp>
    </p:spTree>
    <p:extLst>
      <p:ext uri="{BB962C8B-B14F-4D97-AF65-F5344CB8AC3E}">
        <p14:creationId xmlns:p14="http://schemas.microsoft.com/office/powerpoint/2010/main" val="129203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descr="Check Payments – Deadline for Quarter 2 FY24"/>
          <p:cNvSpPr txBox="1">
            <a:spLocks noGrp="1"/>
          </p:cNvSpPr>
          <p:nvPr>
            <p:ph type="title"/>
          </p:nvPr>
        </p:nvSpPr>
        <p:spPr>
          <a:xfrm>
            <a:off x="527381" y="288818"/>
            <a:ext cx="10945217" cy="423257"/>
          </a:xfrm>
          <a:prstGeom prst="rect">
            <a:avLst/>
          </a:prstGeom>
          <a:solidFill>
            <a:srgbClr val="25359C"/>
          </a:solidFill>
        </p:spPr>
        <p:txBody>
          <a:bodyPr vert="horz" wrap="square" lIns="0" tIns="12700" rIns="0" bIns="0" rtlCol="0" anchor="t">
            <a:spAutoFit/>
          </a:bodyPr>
          <a:lstStyle/>
          <a:p>
            <a:pPr marL="12700">
              <a:spcBef>
                <a:spcPts val="100"/>
              </a:spcBef>
            </a:pPr>
            <a:r>
              <a:rPr lang="en-US" sz="2667" dirty="0">
                <a:solidFill>
                  <a:schemeClr val="bg1"/>
                </a:solidFill>
              </a:rPr>
              <a:t>Check Payments – Deadline for Quarter 4 FY24</a:t>
            </a:r>
            <a:endParaRPr sz="2667" dirty="0">
              <a:solidFill>
                <a:schemeClr val="bg1"/>
              </a:solidFill>
            </a:endParaRPr>
          </a:p>
        </p:txBody>
      </p:sp>
      <p:sp>
        <p:nvSpPr>
          <p:cNvPr id="3" name="object 3" descr="Quarter 3 Deadline for AR Collections for CHECK payments sent to Lockbox must be deposited in the Lockbox by 10:30 AM (ET) Friday May 31st "/>
          <p:cNvSpPr txBox="1"/>
          <p:nvPr/>
        </p:nvSpPr>
        <p:spPr>
          <a:xfrm>
            <a:off x="527380" y="873327"/>
            <a:ext cx="10945217" cy="511422"/>
          </a:xfrm>
          <a:prstGeom prst="rect">
            <a:avLst/>
          </a:prstGeom>
          <a:solidFill>
            <a:schemeClr val="bg1"/>
          </a:solidFill>
        </p:spPr>
        <p:txBody>
          <a:bodyPr vert="horz" wrap="square" lIns="0" tIns="12700" rIns="0" bIns="0" rtlCol="0">
            <a:spAutoFit/>
          </a:bodyPr>
          <a:lstStyle/>
          <a:p>
            <a:pPr marL="635" defTabSz="1088470">
              <a:lnSpc>
                <a:spcPts val="1911"/>
              </a:lnSpc>
              <a:spcBef>
                <a:spcPts val="100"/>
              </a:spcBef>
            </a:pPr>
            <a:r>
              <a:rPr lang="en-US" sz="1867" b="1" dirty="0">
                <a:solidFill>
                  <a:srgbClr val="2A295C"/>
                </a:solidFill>
                <a:latin typeface="Calibri"/>
                <a:cs typeface="Calibri"/>
              </a:rPr>
              <a:t> </a:t>
            </a:r>
            <a:r>
              <a:rPr lang="en-US" sz="1867" b="1" spc="-5" dirty="0">
                <a:solidFill>
                  <a:srgbClr val="2A295C"/>
                </a:solidFill>
                <a:latin typeface="Calibri"/>
                <a:cs typeface="Calibri"/>
              </a:rPr>
              <a:t>Deadline </a:t>
            </a:r>
            <a:r>
              <a:rPr lang="en-US" sz="1867" b="1">
                <a:solidFill>
                  <a:srgbClr val="2A295C"/>
                </a:solidFill>
                <a:latin typeface="Calibri"/>
                <a:cs typeface="Calibri"/>
              </a:rPr>
              <a:t>for Q4 </a:t>
            </a:r>
            <a:r>
              <a:rPr lang="en-US" sz="1867" b="1" dirty="0">
                <a:solidFill>
                  <a:srgbClr val="2A295C"/>
                </a:solidFill>
                <a:latin typeface="Calibri"/>
                <a:cs typeface="Calibri"/>
              </a:rPr>
              <a:t>FY24 AR</a:t>
            </a:r>
            <a:r>
              <a:rPr lang="en-US" sz="1867" b="1" spc="-11" dirty="0">
                <a:solidFill>
                  <a:srgbClr val="2A295C"/>
                </a:solidFill>
                <a:latin typeface="Calibri"/>
                <a:cs typeface="Calibri"/>
              </a:rPr>
              <a:t> </a:t>
            </a:r>
            <a:r>
              <a:rPr lang="en-US" sz="1867" b="1" spc="-5" dirty="0">
                <a:solidFill>
                  <a:srgbClr val="2A295C"/>
                </a:solidFill>
                <a:latin typeface="Calibri"/>
                <a:cs typeface="Calibri"/>
              </a:rPr>
              <a:t>Collections for CHECK payments sent to Lockbox must be deposited in the Lockbox by</a:t>
            </a:r>
            <a:r>
              <a:rPr lang="en-US" sz="1867" b="1" dirty="0">
                <a:solidFill>
                  <a:srgbClr val="2A295C"/>
                </a:solidFill>
                <a:latin typeface="Calibri"/>
                <a:cs typeface="Calibri"/>
              </a:rPr>
              <a:t> </a:t>
            </a:r>
            <a:r>
              <a:rPr lang="en-US" sz="2133" b="1" spc="-5" dirty="0">
                <a:solidFill>
                  <a:srgbClr val="2A295C"/>
                </a:solidFill>
                <a:latin typeface="Calibri"/>
                <a:cs typeface="Calibri"/>
              </a:rPr>
              <a:t>10:30 AM (ET) </a:t>
            </a:r>
            <a:r>
              <a:rPr lang="en-US" sz="2133" b="1" u="sng" spc="-5" dirty="0">
                <a:solidFill>
                  <a:srgbClr val="2A295C"/>
                </a:solidFill>
                <a:latin typeface="Calibri"/>
                <a:cs typeface="Calibri"/>
              </a:rPr>
              <a:t>Friday August 30</a:t>
            </a:r>
            <a:r>
              <a:rPr lang="en-US" sz="2133" b="1" u="sng" spc="-5" baseline="30000" dirty="0">
                <a:solidFill>
                  <a:srgbClr val="2A295C"/>
                </a:solidFill>
                <a:latin typeface="Calibri"/>
                <a:cs typeface="Calibri"/>
              </a:rPr>
              <a:t>th</a:t>
            </a:r>
            <a:r>
              <a:rPr lang="en-US" sz="2133" b="1" u="sng" spc="-5" dirty="0">
                <a:solidFill>
                  <a:srgbClr val="2A295C"/>
                </a:solidFill>
                <a:latin typeface="Calibri"/>
                <a:cs typeface="Calibri"/>
              </a:rPr>
              <a:t> </a:t>
            </a:r>
            <a:endParaRPr lang="en-US" sz="1867" u="sng" dirty="0">
              <a:solidFill>
                <a:srgbClr val="2A295C"/>
              </a:solidFill>
              <a:latin typeface="Calibri"/>
              <a:cs typeface="Calibri"/>
            </a:endParaRPr>
          </a:p>
        </p:txBody>
      </p:sp>
      <p:sp>
        <p:nvSpPr>
          <p:cNvPr id="10" name="TextBox 9" descr="Lock Box address: &#10;Sodexo Inc &amp; Affiliates&#10;Attn:  360170&#10;500 Ross St 154-0455&#10;Pittsburgh, PA   15262-0001&#10;Telephone (412) 234-4381&#10;">
            <a:extLst>
              <a:ext uri="{FF2B5EF4-FFF2-40B4-BE49-F238E27FC236}">
                <a16:creationId xmlns:a16="http://schemas.microsoft.com/office/drawing/2014/main" id="{4C810BFD-135C-44D5-9DE3-7995667D092E}"/>
              </a:ext>
            </a:extLst>
          </p:cNvPr>
          <p:cNvSpPr txBox="1"/>
          <p:nvPr/>
        </p:nvSpPr>
        <p:spPr>
          <a:xfrm>
            <a:off x="4655840" y="1377226"/>
            <a:ext cx="2496277" cy="1384995"/>
          </a:xfrm>
          <a:prstGeom prst="rect">
            <a:avLst/>
          </a:prstGeom>
          <a:noFill/>
        </p:spPr>
        <p:txBody>
          <a:bodyPr wrap="square" rtlCol="0">
            <a:spAutoFit/>
          </a:bodyPr>
          <a:lstStyle/>
          <a:p>
            <a:pPr defTabSz="1088470"/>
            <a:r>
              <a:rPr lang="en-US" sz="1400" b="1" u="sng" dirty="0">
                <a:solidFill>
                  <a:srgbClr val="FF0000"/>
                </a:solidFill>
                <a:latin typeface="Arial"/>
              </a:rPr>
              <a:t>Lock Box address: </a:t>
            </a:r>
          </a:p>
          <a:p>
            <a:pPr defTabSz="1088470"/>
            <a:r>
              <a:rPr lang="en-US" sz="1400" dirty="0">
                <a:solidFill>
                  <a:srgbClr val="FF0000"/>
                </a:solidFill>
                <a:latin typeface="Arial"/>
              </a:rPr>
              <a:t>Sodexo Inc &amp; Affiliates</a:t>
            </a:r>
          </a:p>
          <a:p>
            <a:pPr defTabSz="1088470"/>
            <a:r>
              <a:rPr lang="en-US" sz="1400" dirty="0">
                <a:solidFill>
                  <a:srgbClr val="FF0000"/>
                </a:solidFill>
                <a:latin typeface="Arial"/>
              </a:rPr>
              <a:t>Attn:  360170</a:t>
            </a:r>
          </a:p>
          <a:p>
            <a:pPr defTabSz="1088470"/>
            <a:r>
              <a:rPr lang="en-US" sz="1400" dirty="0">
                <a:solidFill>
                  <a:srgbClr val="FF0000"/>
                </a:solidFill>
                <a:latin typeface="Arial"/>
              </a:rPr>
              <a:t>500 Ross St 154-0455</a:t>
            </a:r>
          </a:p>
          <a:p>
            <a:pPr defTabSz="1088470"/>
            <a:r>
              <a:rPr lang="en-US" sz="1400" dirty="0">
                <a:solidFill>
                  <a:srgbClr val="FF0000"/>
                </a:solidFill>
                <a:latin typeface="Arial"/>
              </a:rPr>
              <a:t>Pittsburgh, PA   15262-0001</a:t>
            </a:r>
          </a:p>
          <a:p>
            <a:pPr defTabSz="1088470"/>
            <a:r>
              <a:rPr lang="en-US" sz="1400" dirty="0">
                <a:solidFill>
                  <a:srgbClr val="FF0000"/>
                </a:solidFill>
                <a:latin typeface="Arial"/>
              </a:rPr>
              <a:t>Telephone (412) 234-4381</a:t>
            </a:r>
          </a:p>
        </p:txBody>
      </p:sp>
      <p:graphicFrame>
        <p:nvGraphicFramePr>
          <p:cNvPr id="8" name="Table 7" descr="For checks received by Wednesday May 29th and they are greater than $2,500,  overnight check to the lockbox address with next day delivery.  If your checks are received by Thursday May 30th send the check(s) overnight to the lockbox with next day air early am delivery. &#10;For checks greater than $100,000 received on Friday May 31st, before 2pm ET, please call the AR Department at 1-800-828-7762 option 2 and option 2.">
            <a:extLst>
              <a:ext uri="{FF2B5EF4-FFF2-40B4-BE49-F238E27FC236}">
                <a16:creationId xmlns:a16="http://schemas.microsoft.com/office/drawing/2014/main" id="{A37D9E53-60A1-4962-9A42-48D3F482D4D3}"/>
              </a:ext>
            </a:extLst>
          </p:cNvPr>
          <p:cNvGraphicFramePr>
            <a:graphicFrameLocks noGrp="1"/>
          </p:cNvGraphicFramePr>
          <p:nvPr/>
        </p:nvGraphicFramePr>
        <p:xfrm>
          <a:off x="527381" y="2842629"/>
          <a:ext cx="10945217" cy="3282961"/>
        </p:xfrm>
        <a:graphic>
          <a:graphicData uri="http://schemas.openxmlformats.org/drawingml/2006/table">
            <a:tbl>
              <a:tblPr firstRow="1" bandRow="1">
                <a:tableStyleId>{5C22544A-7EE6-4342-B048-85BDC9FD1C3A}</a:tableStyleId>
              </a:tblPr>
              <a:tblGrid>
                <a:gridCol w="3603084">
                  <a:extLst>
                    <a:ext uri="{9D8B030D-6E8A-4147-A177-3AD203B41FA5}">
                      <a16:colId xmlns:a16="http://schemas.microsoft.com/office/drawing/2014/main" val="3637413300"/>
                    </a:ext>
                  </a:extLst>
                </a:gridCol>
                <a:gridCol w="3603084">
                  <a:extLst>
                    <a:ext uri="{9D8B030D-6E8A-4147-A177-3AD203B41FA5}">
                      <a16:colId xmlns:a16="http://schemas.microsoft.com/office/drawing/2014/main" val="3015047298"/>
                    </a:ext>
                  </a:extLst>
                </a:gridCol>
                <a:gridCol w="3739049">
                  <a:extLst>
                    <a:ext uri="{9D8B030D-6E8A-4147-A177-3AD203B41FA5}">
                      <a16:colId xmlns:a16="http://schemas.microsoft.com/office/drawing/2014/main" val="3288785567"/>
                    </a:ext>
                  </a:extLst>
                </a:gridCol>
              </a:tblGrid>
              <a:tr h="570241">
                <a:tc>
                  <a:txBody>
                    <a:bodyPr/>
                    <a:lstStyle/>
                    <a:p>
                      <a:pPr algn="ctr"/>
                      <a:r>
                        <a:rPr lang="en-US" sz="1600" dirty="0"/>
                        <a:t>Total Check Amou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359C"/>
                    </a:solidFill>
                  </a:tcPr>
                </a:tc>
                <a:tc>
                  <a:txBody>
                    <a:bodyPr/>
                    <a:lstStyle/>
                    <a:p>
                      <a:pPr algn="ctr"/>
                      <a:r>
                        <a:rPr lang="en-US" sz="1600" dirty="0"/>
                        <a:t>Important D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359C"/>
                    </a:solidFill>
                  </a:tcPr>
                </a:tc>
                <a:tc>
                  <a:txBody>
                    <a:bodyPr/>
                    <a:lstStyle/>
                    <a:p>
                      <a:pPr algn="ctr"/>
                      <a:r>
                        <a:rPr lang="en-US" sz="1600" dirty="0"/>
                        <a:t>Action to Tak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5359C"/>
                    </a:solidFill>
                  </a:tcPr>
                </a:tc>
                <a:extLst>
                  <a:ext uri="{0D108BD9-81ED-4DB2-BD59-A6C34878D82A}">
                    <a16:rowId xmlns:a16="http://schemas.microsoft.com/office/drawing/2014/main" val="3644894601"/>
                  </a:ext>
                </a:extLst>
              </a:tr>
              <a:tr h="822960">
                <a:tc>
                  <a:txBody>
                    <a:bodyPr/>
                    <a:lstStyle/>
                    <a:p>
                      <a:pPr algn="l"/>
                      <a:r>
                        <a:rPr lang="en-US" sz="1600" dirty="0">
                          <a:solidFill>
                            <a:srgbClr val="2A295C"/>
                          </a:solidFill>
                        </a:rPr>
                        <a:t>Total Checks greater than $2,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1" dirty="0">
                          <a:solidFill>
                            <a:srgbClr val="2A295C"/>
                          </a:solidFill>
                        </a:rPr>
                        <a:t>Wednesday August 28</a:t>
                      </a:r>
                      <a:r>
                        <a:rPr lang="en-US" sz="1600" b="1" baseline="30000" dirty="0">
                          <a:solidFill>
                            <a:srgbClr val="2A295C"/>
                          </a:solidFill>
                        </a:rPr>
                        <a:t>th</a:t>
                      </a:r>
                      <a:r>
                        <a:rPr lang="en-US" sz="1600" b="1" dirty="0">
                          <a:solidFill>
                            <a:srgbClr val="2A295C"/>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solidFill>
                            <a:srgbClr val="2A295C"/>
                          </a:solidFill>
                        </a:rPr>
                        <a:t>Overnight checks to the Lockbox address above with </a:t>
                      </a:r>
                      <a:r>
                        <a:rPr lang="en-US" sz="1600" b="1" u="sng" dirty="0">
                          <a:solidFill>
                            <a:srgbClr val="2A295C"/>
                          </a:solidFill>
                        </a:rPr>
                        <a:t>Next day delive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0898691"/>
                  </a:ext>
                </a:extLst>
              </a:tr>
              <a:tr h="822960">
                <a:tc>
                  <a:txBody>
                    <a:bodyPr/>
                    <a:lstStyle/>
                    <a:p>
                      <a:r>
                        <a:rPr lang="en-US" sz="1600">
                          <a:solidFill>
                            <a:srgbClr val="2A295C"/>
                          </a:solidFill>
                        </a:rPr>
                        <a:t>Total Checks greater than $2,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1" dirty="0">
                          <a:solidFill>
                            <a:srgbClr val="2A295C"/>
                          </a:solidFill>
                        </a:rPr>
                        <a:t>Thursday August 29</a:t>
                      </a:r>
                      <a:r>
                        <a:rPr lang="en-US" sz="1600" b="1" baseline="30000" dirty="0">
                          <a:solidFill>
                            <a:srgbClr val="2A295C"/>
                          </a:solidFill>
                        </a:rPr>
                        <a:t>th</a:t>
                      </a:r>
                      <a:r>
                        <a:rPr lang="en-US" sz="1600" b="1" dirty="0">
                          <a:solidFill>
                            <a:srgbClr val="2A295C"/>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solidFill>
                            <a:srgbClr val="2A295C"/>
                          </a:solidFill>
                        </a:rPr>
                        <a:t>Overnight checks to the Lockbox with </a:t>
                      </a:r>
                      <a:r>
                        <a:rPr lang="en-US" sz="1600" b="1" u="sng" dirty="0">
                          <a:solidFill>
                            <a:srgbClr val="2A295C"/>
                          </a:solidFill>
                        </a:rPr>
                        <a:t>Next Day Air EARLY AM Delive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790689"/>
                  </a:ext>
                </a:extLst>
              </a:tr>
              <a:tr h="1066800">
                <a:tc>
                  <a:txBody>
                    <a:bodyPr/>
                    <a:lstStyle/>
                    <a:p>
                      <a:r>
                        <a:rPr lang="en-US" sz="1600" dirty="0">
                          <a:solidFill>
                            <a:srgbClr val="2A295C"/>
                          </a:solidFill>
                        </a:rPr>
                        <a:t>Total Checks greater than $100,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1" dirty="0">
                          <a:solidFill>
                            <a:srgbClr val="2A295C"/>
                          </a:solidFill>
                        </a:rPr>
                        <a:t>Friday August 30</a:t>
                      </a:r>
                      <a:r>
                        <a:rPr lang="en-US" sz="1600" b="1" baseline="30000" dirty="0">
                          <a:solidFill>
                            <a:srgbClr val="2A295C"/>
                          </a:solidFill>
                        </a:rPr>
                        <a:t>th</a:t>
                      </a:r>
                      <a:r>
                        <a:rPr lang="en-US" sz="1600" b="1" dirty="0">
                          <a:solidFill>
                            <a:srgbClr val="2A295C"/>
                          </a:solidFill>
                        </a:rPr>
                        <a:t> before 2:00 PM E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u="sng" dirty="0">
                          <a:solidFill>
                            <a:srgbClr val="292A5C"/>
                          </a:solidFill>
                          <a:latin typeface="+mn-lt"/>
                          <a:cs typeface="Times New Roman" panose="02020603050405020304" pitchFamily="18" charset="0"/>
                        </a:rPr>
                        <a:t>Call</a:t>
                      </a:r>
                      <a:r>
                        <a:rPr lang="en-US" sz="1600" b="0" dirty="0">
                          <a:solidFill>
                            <a:srgbClr val="2A295C"/>
                          </a:solidFill>
                          <a:latin typeface="+mn-lt"/>
                          <a:cs typeface="Times New Roman" panose="02020603050405020304" pitchFamily="18" charset="0"/>
                        </a:rPr>
                        <a:t> the </a:t>
                      </a:r>
                      <a:r>
                        <a:rPr lang="da-DK" sz="1600" b="0" dirty="0">
                          <a:solidFill>
                            <a:srgbClr val="2A295C"/>
                          </a:solidFill>
                          <a:latin typeface="+mn-lt"/>
                          <a:cs typeface="Times New Roman" panose="02020603050405020304" pitchFamily="18" charset="0"/>
                        </a:rPr>
                        <a:t>FSS AR Department at 1-800-828-7762 option 2, option 2 </a:t>
                      </a:r>
                      <a:r>
                        <a:rPr lang="da-DK" sz="1600" b="1" i="0" u="sng" dirty="0">
                          <a:solidFill>
                            <a:srgbClr val="292A5C"/>
                          </a:solidFill>
                          <a:latin typeface="+mn-lt"/>
                          <a:cs typeface="Times New Roman" panose="02020603050405020304" pitchFamily="18" charset="0"/>
                        </a:rPr>
                        <a:t>before 2 PM  ET</a:t>
                      </a:r>
                      <a:r>
                        <a:rPr lang="da-DK" sz="1600" b="0" i="0" u="none" dirty="0">
                          <a:solidFill>
                            <a:srgbClr val="292A5C"/>
                          </a:solidFill>
                          <a:latin typeface="+mn-lt"/>
                          <a:cs typeface="Times New Roman" panose="02020603050405020304" pitchFamily="18" charset="0"/>
                        </a:rPr>
                        <a:t> </a:t>
                      </a:r>
                      <a:endParaRPr lang="en-US" sz="2400" b="1" i="0" u="sng" dirty="0">
                        <a:solidFill>
                          <a:srgbClr val="292A5C"/>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8824047"/>
                  </a:ext>
                </a:extLst>
              </a:tr>
            </a:tbl>
          </a:graphicData>
        </a:graphic>
      </p:graphicFrame>
      <p:sp>
        <p:nvSpPr>
          <p:cNvPr id="4" name="Footer Placeholder 3">
            <a:extLst>
              <a:ext uri="{FF2B5EF4-FFF2-40B4-BE49-F238E27FC236}">
                <a16:creationId xmlns:a16="http://schemas.microsoft.com/office/drawing/2014/main" id="{4CD7AA26-EDCD-1202-C01F-B7AA1BA464E1}"/>
              </a:ext>
            </a:extLst>
          </p:cNvPr>
          <p:cNvSpPr>
            <a:spLocks noGrp="1"/>
          </p:cNvSpPr>
          <p:nvPr>
            <p:ph type="ftr" sz="quarter" idx="5"/>
          </p:nvPr>
        </p:nvSpPr>
        <p:spPr/>
        <p:txBody>
          <a:bodyPr/>
          <a:lstStyle/>
          <a:p>
            <a:r>
              <a:rPr lang="en-US"/>
              <a:t>Unit Controller Call Series © Sodexo, July 2024.  All rights Reserved</a:t>
            </a:r>
            <a:endParaRPr lang="en-US" dirty="0"/>
          </a:p>
        </p:txBody>
      </p:sp>
    </p:spTree>
    <p:extLst>
      <p:ext uri="{BB962C8B-B14F-4D97-AF65-F5344CB8AC3E}">
        <p14:creationId xmlns:p14="http://schemas.microsoft.com/office/powerpoint/2010/main" val="3471959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ayment Fraud">
            <a:extLst>
              <a:ext uri="{FF2B5EF4-FFF2-40B4-BE49-F238E27FC236}">
                <a16:creationId xmlns:a16="http://schemas.microsoft.com/office/drawing/2014/main" id="{842DD7FE-B3B5-473B-BED5-19E81F1F963F}"/>
              </a:ext>
            </a:extLst>
          </p:cNvPr>
          <p:cNvSpPr>
            <a:spLocks noGrp="1"/>
          </p:cNvSpPr>
          <p:nvPr>
            <p:ph type="title"/>
          </p:nvPr>
        </p:nvSpPr>
        <p:spPr>
          <a:xfrm>
            <a:off x="546520" y="350332"/>
            <a:ext cx="10926077" cy="710552"/>
          </a:xfrm>
          <a:solidFill>
            <a:srgbClr val="25359C"/>
          </a:solidFill>
        </p:spPr>
        <p:txBody>
          <a:bodyPr anchor="ctr"/>
          <a:lstStyle/>
          <a:p>
            <a:r>
              <a:rPr lang="en-US" sz="3200" dirty="0">
                <a:solidFill>
                  <a:schemeClr val="bg1"/>
                </a:solidFill>
              </a:rPr>
              <a:t>Present and Pay</a:t>
            </a:r>
          </a:p>
        </p:txBody>
      </p:sp>
      <p:sp>
        <p:nvSpPr>
          <p:cNvPr id="3" name="Text Placeholder 2" descr="Threat Actors are continuing their efforts posing as Sodexo employee to commit fraud against our clients. &#10;&#10;Tell customers NEVER to conduct electronic funds transactions with Sodexo via email. &#10;Always call the AR Department to verify any requests and to check the sender’s domain&#10;&#10;Ensure that any requests for funds transfer received have 2nd and/or 3rd level validation procedures in place (i.e., DM/GM approvals, always call your customer to verify legitimacy etc.)&#10;&#10;Using email for financial transactions in general is strongly discouraged&#10;&#10;Immediately contact FSS Accounts Receivables department if you suspect possible fraud at:  AccountsReceivable.NorAm@sodexo.com or 1-800-828-7762, Option 2, Option 2 &#10;&#10;Thank you, your actions are making a difference!&#10;">
            <a:extLst>
              <a:ext uri="{FF2B5EF4-FFF2-40B4-BE49-F238E27FC236}">
                <a16:creationId xmlns:a16="http://schemas.microsoft.com/office/drawing/2014/main" id="{B0D606DB-7AD7-458F-B550-45E1957F9C53}"/>
              </a:ext>
              <a:ext uri="{C183D7F6-B498-43B3-948B-1728B52AA6E4}">
                <adec:decorative xmlns:adec="http://schemas.microsoft.com/office/drawing/2017/decorative" val="0"/>
              </a:ext>
            </a:extLst>
          </p:cNvPr>
          <p:cNvSpPr>
            <a:spLocks noGrp="1"/>
          </p:cNvSpPr>
          <p:nvPr>
            <p:ph type="body" sz="quarter" idx="12"/>
          </p:nvPr>
        </p:nvSpPr>
        <p:spPr>
          <a:xfrm>
            <a:off x="546520" y="1220755"/>
            <a:ext cx="11022088" cy="4931637"/>
          </a:xfrm>
        </p:spPr>
        <p:txBody>
          <a:bodyPr>
            <a:normAutofit lnSpcReduction="10000"/>
          </a:bodyPr>
          <a:lstStyle/>
          <a:p>
            <a:pPr marL="0" indent="0" algn="ctr">
              <a:buNone/>
            </a:pPr>
            <a:r>
              <a:rPr lang="en-US" sz="2133" b="1" dirty="0">
                <a:solidFill>
                  <a:schemeClr val="accent1"/>
                </a:solidFill>
              </a:rPr>
              <a:t>Please consider utilizing Sodexo’s secure online invoice delivery and payment platform, Citi Present and Pay.</a:t>
            </a:r>
          </a:p>
          <a:p>
            <a:pPr marL="0" indent="0" algn="ctr">
              <a:buNone/>
            </a:pPr>
            <a:endParaRPr lang="en-US" dirty="0">
              <a:solidFill>
                <a:schemeClr val="accent1"/>
              </a:solidFill>
              <a:effectLst/>
            </a:endParaRPr>
          </a:p>
          <a:p>
            <a:pPr marL="0" indent="0" algn="ctr">
              <a:buNone/>
            </a:pPr>
            <a:r>
              <a:rPr lang="en-US" b="1" u="sng" dirty="0">
                <a:solidFill>
                  <a:schemeClr val="accent1"/>
                </a:solidFill>
                <a:effectLst/>
              </a:rPr>
              <a:t>Additional features included in the platform:</a:t>
            </a:r>
          </a:p>
          <a:p>
            <a:pPr rtl="0"/>
            <a:endParaRPr lang="en-US" b="1" u="sng" dirty="0">
              <a:solidFill>
                <a:schemeClr val="accent1"/>
              </a:solidFill>
              <a:effectLst/>
            </a:endParaRPr>
          </a:p>
          <a:p>
            <a:pPr rtl="0">
              <a:buFont typeface="Arial" panose="020B0604020202020204" pitchFamily="34" charset="0"/>
              <a:buChar char="•"/>
            </a:pPr>
            <a:r>
              <a:rPr lang="en-US" sz="2133" dirty="0">
                <a:solidFill>
                  <a:schemeClr val="accent1"/>
                </a:solidFill>
              </a:rPr>
              <a:t>View and download Invoices and Monthly statements</a:t>
            </a:r>
          </a:p>
          <a:p>
            <a:pPr rtl="0">
              <a:buFont typeface="Arial" panose="020B0604020202020204" pitchFamily="34" charset="0"/>
              <a:buChar char="•"/>
            </a:pPr>
            <a:r>
              <a:rPr lang="en-US" sz="2133" dirty="0">
                <a:solidFill>
                  <a:schemeClr val="accent1"/>
                </a:solidFill>
              </a:rPr>
              <a:t>Schedule automatic delivery of Invoices and Statements</a:t>
            </a:r>
          </a:p>
          <a:p>
            <a:pPr rtl="0">
              <a:buFont typeface="Arial" panose="020B0604020202020204" pitchFamily="34" charset="0"/>
              <a:buChar char="•"/>
            </a:pPr>
            <a:r>
              <a:rPr lang="en-US" sz="2133" dirty="0">
                <a:solidFill>
                  <a:schemeClr val="accent1"/>
                </a:solidFill>
              </a:rPr>
              <a:t>Set up recuring or auto payments</a:t>
            </a:r>
          </a:p>
          <a:p>
            <a:pPr rtl="0">
              <a:buFont typeface="Arial" panose="020B0604020202020204" pitchFamily="34" charset="0"/>
              <a:buChar char="•"/>
            </a:pPr>
            <a:r>
              <a:rPr lang="en-US" sz="2133" dirty="0">
                <a:solidFill>
                  <a:schemeClr val="accent1"/>
                </a:solidFill>
              </a:rPr>
              <a:t>Securely manage bank details</a:t>
            </a:r>
          </a:p>
          <a:p>
            <a:pPr rtl="0">
              <a:buFont typeface="Arial" panose="020B0604020202020204" pitchFamily="34" charset="0"/>
              <a:buChar char="•"/>
            </a:pPr>
            <a:r>
              <a:rPr lang="en-US" sz="2133" dirty="0">
                <a:solidFill>
                  <a:schemeClr val="accent1"/>
                </a:solidFill>
              </a:rPr>
              <a:t>Raise and manage invoice disputes</a:t>
            </a:r>
          </a:p>
          <a:p>
            <a:pPr rtl="0"/>
            <a:endParaRPr lang="en-US" b="1" dirty="0">
              <a:solidFill>
                <a:schemeClr val="accent1"/>
              </a:solidFill>
              <a:effectLst/>
            </a:endParaRPr>
          </a:p>
          <a:p>
            <a:pPr marL="0" indent="0" algn="ctr">
              <a:buNone/>
            </a:pPr>
            <a:r>
              <a:rPr lang="en-US" b="1" dirty="0">
                <a:solidFill>
                  <a:schemeClr val="accent1"/>
                </a:solidFill>
                <a:effectLst/>
              </a:rPr>
              <a:t>If interested in utilizing, please contact </a:t>
            </a:r>
            <a:r>
              <a:rPr lang="en-US" b="1" dirty="0">
                <a:solidFill>
                  <a:schemeClr val="accent1">
                    <a:lumMod val="60000"/>
                    <a:lumOff val="40000"/>
                  </a:schemeClr>
                </a:solidFill>
                <a:effectLst/>
                <a:hlinkClick r:id="rId2" tooltip="mailto:crsteam.noram@sodexo.com">
                  <a:extLst>
                    <a:ext uri="{A12FA001-AC4F-418D-AE19-62706E023703}">
                      <ahyp:hlinkClr xmlns:ahyp="http://schemas.microsoft.com/office/drawing/2018/hyperlinkcolor" val="tx"/>
                    </a:ext>
                  </a:extLst>
                </a:hlinkClick>
              </a:rPr>
              <a:t>CRSTeam.Noram@sodexo.com</a:t>
            </a:r>
            <a:r>
              <a:rPr lang="en-US" b="1" dirty="0">
                <a:solidFill>
                  <a:schemeClr val="accent1"/>
                </a:solidFill>
                <a:effectLst/>
              </a:rPr>
              <a:t>. </a:t>
            </a:r>
          </a:p>
        </p:txBody>
      </p:sp>
      <p:sp>
        <p:nvSpPr>
          <p:cNvPr id="4" name="Footer Placeholder 3">
            <a:extLst>
              <a:ext uri="{FF2B5EF4-FFF2-40B4-BE49-F238E27FC236}">
                <a16:creationId xmlns:a16="http://schemas.microsoft.com/office/drawing/2014/main" id="{B79CEBF8-B498-BA79-2E65-282538C647BB}"/>
              </a:ext>
            </a:extLst>
          </p:cNvPr>
          <p:cNvSpPr>
            <a:spLocks noGrp="1"/>
          </p:cNvSpPr>
          <p:nvPr>
            <p:ph type="ftr" sz="quarter" idx="14"/>
          </p:nvPr>
        </p:nvSpPr>
        <p:spPr/>
        <p:txBody>
          <a:bodyPr/>
          <a:lstStyle/>
          <a:p>
            <a:pPr eaLnBrk="0" hangingPunct="0">
              <a:lnSpc>
                <a:spcPct val="90000"/>
              </a:lnSpc>
              <a:buClr>
                <a:schemeClr val="accent3"/>
              </a:buClr>
              <a:buSzPct val="120000"/>
              <a:tabLst>
                <a:tab pos="811986" algn="l"/>
                <a:tab pos="1212026" algn="l"/>
                <a:tab pos="1612066" algn="l"/>
                <a:tab pos="6057749" algn="r"/>
              </a:tabLst>
            </a:pPr>
            <a:r>
              <a:rPr lang="en-US"/>
              <a:t>Unit Controller Call Series © Sodexo, July 2024.  All rights Reserved</a:t>
            </a:r>
            <a:endParaRPr lang="en-US" dirty="0"/>
          </a:p>
        </p:txBody>
      </p:sp>
    </p:spTree>
    <p:extLst>
      <p:ext uri="{BB962C8B-B14F-4D97-AF65-F5344CB8AC3E}">
        <p14:creationId xmlns:p14="http://schemas.microsoft.com/office/powerpoint/2010/main" val="30205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 - 3.potx  -  Read-Only" id="{58AE7F06-282A-4EDE-96B0-7DA013245B59}" vid="{E7C345CC-2814-4FB6-AB00-E2C5ED2EF6A3}"/>
    </a:ext>
  </a:extLst>
</a:theme>
</file>

<file path=ppt/theme/theme10.xml><?xml version="1.0" encoding="utf-8"?>
<a:theme xmlns:a="http://schemas.openxmlformats.org/drawingml/2006/main" name="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 - 3.potx  -  Read-Only" id="{33788E7D-DBD8-4943-B838-EA18BD777884}" vid="{6B0BE4D8-365B-40BD-9EB6-2BC142F28AB9}"/>
    </a:ext>
  </a:extLst>
</a:theme>
</file>

<file path=ppt/theme/theme11.xml><?xml version="1.0" encoding="utf-8"?>
<a:theme xmlns:a="http://schemas.openxmlformats.org/drawingml/2006/main" name="161213_Saffron_Sodexo_PPT_Template">
  <a:themeElements>
    <a:clrScheme name="Sodexo">
      <a:dk1>
        <a:srgbClr val="000000"/>
      </a:dk1>
      <a:lt1>
        <a:srgbClr val="FFFFFF"/>
      </a:lt1>
      <a:dk2>
        <a:srgbClr val="7F7F7F"/>
      </a:dk2>
      <a:lt2>
        <a:srgbClr val="D3D0C9"/>
      </a:lt2>
      <a:accent1>
        <a:srgbClr val="2A295C"/>
      </a:accent1>
      <a:accent2>
        <a:srgbClr val="FF0000"/>
      </a:accent2>
      <a:accent3>
        <a:srgbClr val="7F7F7F"/>
      </a:accent3>
      <a:accent4>
        <a:srgbClr val="D3D0C9"/>
      </a:accent4>
      <a:accent5>
        <a:srgbClr val="9396AB"/>
      </a:accent5>
      <a:accent6>
        <a:srgbClr val="FF6666"/>
      </a:accent6>
      <a:hlink>
        <a:srgbClr val="2A295C"/>
      </a:hlink>
      <a:folHlink>
        <a:srgbClr val="2A295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4" id="{06DE5221-BF58-404C-822E-4E7763731A6F}" vid="{83D3A011-4B07-0A4E-8481-36182F9767A1}"/>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3.xml><?xml version="1.0" encoding="utf-8"?>
<a:theme xmlns:a="http://schemas.openxmlformats.org/drawingml/2006/main" name="7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 - 3.potx  -  Read-Only" id="{B2D76424-A5EF-454D-B80D-06BEAE90FE42}" vid="{35346F57-1421-406D-8F09-FF34577C602E}"/>
    </a:ext>
  </a:extLst>
</a:theme>
</file>

<file path=ppt/theme/theme4.xml><?xml version="1.0" encoding="utf-8"?>
<a:theme xmlns:a="http://schemas.openxmlformats.org/drawingml/2006/main" name="7_Sodexo Template">
  <a:themeElements>
    <a:clrScheme name="Personnalisé 5">
      <a:dk1>
        <a:sysClr val="windowText" lastClr="000000"/>
      </a:dk1>
      <a:lt1>
        <a:sysClr val="window" lastClr="FFFFFF"/>
      </a:lt1>
      <a:dk2>
        <a:srgbClr val="283897"/>
      </a:dk2>
      <a:lt2>
        <a:srgbClr val="E7E6E6"/>
      </a:lt2>
      <a:accent1>
        <a:srgbClr val="199CD8"/>
      </a:accent1>
      <a:accent2>
        <a:srgbClr val="34A866"/>
      </a:accent2>
      <a:accent3>
        <a:srgbClr val="228085"/>
      </a:accent3>
      <a:accent4>
        <a:srgbClr val="915FC8"/>
      </a:accent4>
      <a:accent5>
        <a:srgbClr val="DA558C"/>
      </a:accent5>
      <a:accent6>
        <a:srgbClr val="EF6622"/>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5.xml><?xml version="1.0" encoding="utf-8"?>
<a:theme xmlns:a="http://schemas.openxmlformats.org/drawingml/2006/main" name="8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2" id="{2094B5C1-F468-43AA-BCEA-3F4D62947D92}" vid="{E3C9C868-3311-4BE7-8D58-750DCB0D8772}"/>
    </a:ext>
  </a:extLst>
</a:theme>
</file>

<file path=ppt/theme/theme6.xml><?xml version="1.0" encoding="utf-8"?>
<a:theme xmlns:a="http://schemas.openxmlformats.org/drawingml/2006/main" name="9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 id="{2312DA8B-DEEA-4078-B00E-51FC23D891BE}" vid="{D1564F80-3D2E-4C82-9085-4676CA4AD939}"/>
    </a:ext>
  </a:extLst>
</a:theme>
</file>

<file path=ppt/theme/theme7.xml><?xml version="1.0" encoding="utf-8"?>
<a:theme xmlns:a="http://schemas.openxmlformats.org/drawingml/2006/main" name="6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1D1B71B26D6FF4D90A2B77D63DF9BE2" ma:contentTypeVersion="3" ma:contentTypeDescription="Crée un document." ma:contentTypeScope="" ma:versionID="0625b9c9ee63e270fe230f3edd2812ce">
  <xsd:schema xmlns:xsd="http://www.w3.org/2001/XMLSchema" xmlns:xs="http://www.w3.org/2001/XMLSchema" xmlns:p="http://schemas.microsoft.com/office/2006/metadata/properties" xmlns:ns2="19392594-b6e7-4b1a-a58f-27f4384f3cec" targetNamespace="http://schemas.microsoft.com/office/2006/metadata/properties" ma:root="true" ma:fieldsID="fa103abaee60d08475be0fcdcd03cbb8" ns2:_="">
    <xsd:import namespace="19392594-b6e7-4b1a-a58f-27f4384f3cec"/>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392594-b6e7-4b1a-a58f-27f4384f3c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2773638-9B49-456E-83FA-F36FEC172D4D}">
  <ds:schemaRefs>
    <ds:schemaRef ds:uri="http://schemas.microsoft.com/sharepoint/v3/contenttype/forms"/>
  </ds:schemaRefs>
</ds:datastoreItem>
</file>

<file path=customXml/itemProps2.xml><?xml version="1.0" encoding="utf-8"?>
<ds:datastoreItem xmlns:ds="http://schemas.openxmlformats.org/officeDocument/2006/customXml" ds:itemID="{C6FAAC51-120E-4E39-B9FE-340E1B41C548}">
  <ds:schemaRefs>
    <ds:schemaRef ds:uri="19392594-b6e7-4b1a-a58f-27f4384f3c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481D8DA-31B1-4F06-AA07-7DFC34CD9E7B}">
  <ds:schemaRefs>
    <ds:schemaRef ds:uri="19392594-b6e7-4b1a-a58f-27f4384f3ce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875</TotalTime>
  <Words>6480</Words>
  <Application>Microsoft Office PowerPoint</Application>
  <PresentationFormat>Widescreen</PresentationFormat>
  <Paragraphs>580</Paragraphs>
  <Slides>35</Slides>
  <Notes>29</Notes>
  <HiddenSlides>0</HiddenSlides>
  <MMClips>0</MMClips>
  <ScaleCrop>false</ScaleCrop>
  <HeadingPairs>
    <vt:vector size="8" baseType="variant">
      <vt:variant>
        <vt:lpstr>Fonts Used</vt:lpstr>
      </vt:variant>
      <vt:variant>
        <vt:i4>10</vt:i4>
      </vt:variant>
      <vt:variant>
        <vt:lpstr>Theme</vt:lpstr>
      </vt:variant>
      <vt:variant>
        <vt:i4>11</vt:i4>
      </vt:variant>
      <vt:variant>
        <vt:lpstr>Embedded OLE Servers</vt:lpstr>
      </vt:variant>
      <vt:variant>
        <vt:i4>2</vt:i4>
      </vt:variant>
      <vt:variant>
        <vt:lpstr>Slide Titles</vt:lpstr>
      </vt:variant>
      <vt:variant>
        <vt:i4>35</vt:i4>
      </vt:variant>
    </vt:vector>
  </HeadingPairs>
  <TitlesOfParts>
    <vt:vector size="58" baseType="lpstr">
      <vt:lpstr>Aptos</vt:lpstr>
      <vt:lpstr>Arial</vt:lpstr>
      <vt:lpstr>Calibri</vt:lpstr>
      <vt:lpstr>Calibri Light</vt:lpstr>
      <vt:lpstr>SansaPro-SemiBold</vt:lpstr>
      <vt:lpstr>Segoe UI</vt:lpstr>
      <vt:lpstr>Source Sans Pro Web</vt:lpstr>
      <vt:lpstr>Symbol</vt:lpstr>
      <vt:lpstr>Verdana</vt:lpstr>
      <vt:lpstr>Wingdings</vt:lpstr>
      <vt:lpstr>2_Theme1</vt:lpstr>
      <vt:lpstr>Sodexo Template</vt:lpstr>
      <vt:lpstr>7_Theme1</vt:lpstr>
      <vt:lpstr>7_Sodexo Template</vt:lpstr>
      <vt:lpstr>8_Theme1</vt:lpstr>
      <vt:lpstr>9_Theme1</vt:lpstr>
      <vt:lpstr>6_Sodexo Template</vt:lpstr>
      <vt:lpstr>Office Theme</vt:lpstr>
      <vt:lpstr>2_Sodexo Template</vt:lpstr>
      <vt:lpstr>Theme1</vt:lpstr>
      <vt:lpstr>161213_Saffron_Sodexo_PPT_Template</vt:lpstr>
      <vt:lpstr>think-cell Slide</vt:lpstr>
      <vt:lpstr>Adobe Acrobat Document</vt:lpstr>
      <vt:lpstr>FY24 Unit Controller Call Series July, 2024</vt:lpstr>
      <vt:lpstr>  </vt:lpstr>
      <vt:lpstr>Safety Moment Thunderstorms &amp; Lightning</vt:lpstr>
      <vt:lpstr>PowerPoint Presentation</vt:lpstr>
      <vt:lpstr>Let’s Collect It for Q4 FY24!</vt:lpstr>
      <vt:lpstr> Collection Deadline for Quarter 4, FY24</vt:lpstr>
      <vt:lpstr>Electronic Payments – Deadline for Quarter 4 FY24</vt:lpstr>
      <vt:lpstr>Check Payments – Deadline for Quarter 4 FY24</vt:lpstr>
      <vt:lpstr>Present and Pay</vt:lpstr>
      <vt:lpstr>Payment Fraud</vt:lpstr>
      <vt:lpstr>PowerPoint Presentation</vt:lpstr>
      <vt:lpstr>Internal Control Updates  Inventory Management EY Year-End Inventory/Cash Audit NorAm Site Audit Program</vt:lpstr>
      <vt:lpstr>Inventory Management</vt:lpstr>
      <vt:lpstr>Inventory Management</vt:lpstr>
      <vt:lpstr>Inventory Management</vt:lpstr>
      <vt:lpstr>Inventory Management</vt:lpstr>
      <vt:lpstr>Inventory Trend Analysis</vt:lpstr>
      <vt:lpstr>Inventory Trend Analysis (con’t)</vt:lpstr>
      <vt:lpstr>SodexoNet Inventory Management page</vt:lpstr>
      <vt:lpstr>EY Year-End Inventory / Cash Audit</vt:lpstr>
      <vt:lpstr>Year-end Inventory / Cash Audit</vt:lpstr>
      <vt:lpstr>Year-end Inventory / Cash Audits</vt:lpstr>
      <vt:lpstr>Contacts</vt:lpstr>
      <vt:lpstr>NorAm Site Audit Program</vt:lpstr>
      <vt:lpstr>NorAm Site Audit Program – Internal Controls</vt:lpstr>
      <vt:lpstr>Questions</vt:lpstr>
      <vt:lpstr>Identity Access Management Forms (SoUnified)</vt:lpstr>
      <vt:lpstr>PowerPoint Presentation</vt:lpstr>
      <vt:lpstr>PowerPoint Presentation</vt:lpstr>
      <vt:lpstr>Demo IAM Form – Unit Financial Systems</vt:lpstr>
      <vt:lpstr>Questions?</vt:lpstr>
      <vt:lpstr>Stars of Financ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 of NorAm Finance Shared Services</dc:title>
  <dc:creator>Michaels, Patricia</dc:creator>
  <cp:lastModifiedBy>Szabo, Corinne</cp:lastModifiedBy>
  <cp:revision>6</cp:revision>
  <dcterms:created xsi:type="dcterms:W3CDTF">2023-12-07T18:57:50Z</dcterms:created>
  <dcterms:modified xsi:type="dcterms:W3CDTF">2024-07-23T18:4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D1B71B26D6FF4D90A2B77D63DF9BE2</vt:lpwstr>
  </property>
</Properties>
</file>